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heme/themeOverride2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9"/>
  </p:notesMasterIdLst>
  <p:handoutMasterIdLst>
    <p:handoutMasterId r:id="rId30"/>
  </p:handoutMasterIdLst>
  <p:sldIdLst>
    <p:sldId id="256" r:id="rId2"/>
    <p:sldId id="271" r:id="rId3"/>
    <p:sldId id="366" r:id="rId4"/>
    <p:sldId id="427" r:id="rId5"/>
    <p:sldId id="420" r:id="rId6"/>
    <p:sldId id="419" r:id="rId7"/>
    <p:sldId id="423" r:id="rId8"/>
    <p:sldId id="429" r:id="rId9"/>
    <p:sldId id="270" r:id="rId10"/>
    <p:sldId id="418" r:id="rId11"/>
    <p:sldId id="374" r:id="rId12"/>
    <p:sldId id="401" r:id="rId13"/>
    <p:sldId id="309" r:id="rId14"/>
    <p:sldId id="394" r:id="rId15"/>
    <p:sldId id="388" r:id="rId16"/>
    <p:sldId id="393" r:id="rId17"/>
    <p:sldId id="389" r:id="rId18"/>
    <p:sldId id="385" r:id="rId19"/>
    <p:sldId id="396" r:id="rId20"/>
    <p:sldId id="398" r:id="rId21"/>
    <p:sldId id="395" r:id="rId22"/>
    <p:sldId id="399" r:id="rId23"/>
    <p:sldId id="397" r:id="rId24"/>
    <p:sldId id="400" r:id="rId25"/>
    <p:sldId id="376" r:id="rId26"/>
    <p:sldId id="391" r:id="rId27"/>
    <p:sldId id="261" r:id="rId28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C"/>
    <a:srgbClr val="D8D8D8"/>
    <a:srgbClr val="6C6C6C"/>
    <a:srgbClr val="A5A5A5"/>
    <a:srgbClr val="02B0ED"/>
    <a:srgbClr val="0082D1"/>
    <a:srgbClr val="C00000"/>
    <a:srgbClr val="123696"/>
    <a:srgbClr val="B2D2DE"/>
    <a:srgbClr val="00AA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860" autoAdjust="0"/>
    <p:restoredTop sz="94270" autoAdjust="0"/>
  </p:normalViewPr>
  <p:slideViewPr>
    <p:cSldViewPr snapToGrid="0">
      <p:cViewPr>
        <p:scale>
          <a:sx n="62" d="100"/>
          <a:sy n="62" d="100"/>
        </p:scale>
        <p:origin x="-1176" y="-523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package" Target="../embeddings/Microsoft_Excel____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package" Target="../embeddings/Microsoft_Excel____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065033583790102E-3"/>
          <c:y val="4.81477453372866E-2"/>
          <c:w val="0.96362846305783101"/>
          <c:h val="0.8860554698990109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收入（亿元）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  <a:tailEnd type="none"/>
            </a:ln>
            <a:effectLst/>
          </c:spPr>
          <c:marker>
            <c:symbol val="none"/>
          </c:marker>
          <c:dPt>
            <c:idx val="17"/>
            <c:bubble3D val="0"/>
            <c:spPr>
              <a:ln w="34925" cap="rnd">
                <a:solidFill>
                  <a:schemeClr val="accent1"/>
                </a:solidFill>
                <a:round/>
                <a:tailEnd type="triangle"/>
              </a:ln>
              <a:effectLst/>
            </c:spPr>
          </c:dPt>
          <c:dLbls>
            <c:numFmt formatCode="#,##0.0_);[Red]\(#,##0.0\)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pPr>
                <a:endParaRPr lang="zh-C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9</c:f>
              <c:numCache>
                <c:formatCode>General</c:formatCode>
                <c:ptCount val="18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  <c:pt idx="17">
                  <c:v>2018</c:v>
                </c:pt>
              </c:numCache>
            </c:numRef>
          </c:cat>
          <c:val>
            <c:numRef>
              <c:f>Sheet1!$B$2:$B$19</c:f>
              <c:numCache>
                <c:formatCode>General</c:formatCode>
                <c:ptCount val="18"/>
                <c:pt idx="0">
                  <c:v>0.05</c:v>
                </c:pt>
                <c:pt idx="1">
                  <c:v>1.25</c:v>
                </c:pt>
                <c:pt idx="2">
                  <c:v>9.98</c:v>
                </c:pt>
                <c:pt idx="3">
                  <c:v>7.53</c:v>
                </c:pt>
                <c:pt idx="4">
                  <c:v>4.8</c:v>
                </c:pt>
                <c:pt idx="5">
                  <c:v>8.3000000000000007</c:v>
                </c:pt>
                <c:pt idx="6">
                  <c:v>7.39</c:v>
                </c:pt>
                <c:pt idx="7">
                  <c:v>9.5500000000000007</c:v>
                </c:pt>
                <c:pt idx="8">
                  <c:v>11</c:v>
                </c:pt>
                <c:pt idx="9">
                  <c:v>12.23</c:v>
                </c:pt>
                <c:pt idx="10">
                  <c:v>13.16</c:v>
                </c:pt>
                <c:pt idx="11">
                  <c:v>14.53</c:v>
                </c:pt>
                <c:pt idx="12">
                  <c:v>22.14</c:v>
                </c:pt>
                <c:pt idx="13">
                  <c:v>21.19</c:v>
                </c:pt>
                <c:pt idx="14">
                  <c:v>20.7</c:v>
                </c:pt>
                <c:pt idx="15">
                  <c:v>26.21</c:v>
                </c:pt>
                <c:pt idx="16">
                  <c:v>40.96</c:v>
                </c:pt>
                <c:pt idx="17">
                  <c:v>47.38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2504960"/>
        <c:axId val="62506496"/>
      </c:lineChart>
      <c:catAx>
        <c:axId val="62504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pPr>
            <a:endParaRPr lang="zh-CN"/>
          </a:p>
        </c:txPr>
        <c:crossAx val="62506496"/>
        <c:crosses val="autoZero"/>
        <c:auto val="1"/>
        <c:lblAlgn val="ctr"/>
        <c:lblOffset val="100"/>
        <c:noMultiLvlLbl val="0"/>
      </c:catAx>
      <c:valAx>
        <c:axId val="625064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2504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 sz="1400">
          <a:latin typeface="Times New Roman" panose="02020603050405020304" pitchFamily="18" charset="0"/>
          <a:ea typeface="微软雅黑" panose="020B0503020204020204" pitchFamily="34" charset="-122"/>
          <a:cs typeface="Times New Roman" panose="02020603050405020304" pitchFamily="18" charset="0"/>
        </a:defRPr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085200838587902E-3"/>
          <c:y val="6.9282438265727206E-2"/>
          <c:w val="0.99739147991614097"/>
          <c:h val="0.76169965641465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食品研发 Food R&amp;D</c:v>
                </c:pt>
              </c:strCache>
            </c:strRef>
          </c:tx>
          <c:spPr>
            <a:solidFill>
              <a:srgbClr val="00336C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400" b="1" i="0" u="none" strike="noStrike" kern="1200" baseline="0">
                    <a:solidFill>
                      <a:srgbClr val="00336C"/>
                    </a:solidFill>
                    <a:latin typeface="Times New Roman" panose="02020603050405020304" pitchFamily="18" charset="0"/>
                    <a:ea typeface="微软雅黑" panose="020B0503020204020204" pitchFamily="34" charset="-122"/>
                    <a:cs typeface="Times New Roman" panose="02020603050405020304" pitchFamily="18" charset="0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E</c:v>
                </c:pt>
              </c:strCache>
            </c:strRef>
          </c:cat>
          <c:val>
            <c:numRef>
              <c:f>Sheet1!$B$2:$B$5</c:f>
              <c:numCache>
                <c:formatCode>0.00%</c:formatCode>
                <c:ptCount val="4"/>
                <c:pt idx="0">
                  <c:v>8.3699999999999997E-2</c:v>
                </c:pt>
                <c:pt idx="1">
                  <c:v>0.14380000000000001</c:v>
                </c:pt>
                <c:pt idx="2">
                  <c:v>0.21060000000000001</c:v>
                </c:pt>
                <c:pt idx="3">
                  <c:v>0.256799999999999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9751680"/>
        <c:axId val="189753216"/>
      </c:barChart>
      <c:catAx>
        <c:axId val="189751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zh-CN" sz="1195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defRPr>
            </a:pPr>
            <a:endParaRPr lang="zh-CN"/>
          </a:p>
        </c:txPr>
        <c:crossAx val="189753216"/>
        <c:crosses val="autoZero"/>
        <c:auto val="1"/>
        <c:lblAlgn val="ctr"/>
        <c:lblOffset val="100"/>
        <c:noMultiLvlLbl val="0"/>
      </c:catAx>
      <c:valAx>
        <c:axId val="189753216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1897516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19/12/3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17046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19/12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4974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集团介绍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集团介绍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突出</a:t>
            </a:r>
            <a:r>
              <a:rPr lang="en-US" altLang="zh-CN" dirty="0"/>
              <a:t>4</a:t>
            </a:r>
            <a:r>
              <a:rPr lang="zh-CN" altLang="en-US" dirty="0"/>
              <a:t>个全球采购办事处（掌控产地的实时价格、质量监控、稳定供应）、印度有个工厂、越南和印度、印尼战略合作伙伴、采购品类（黑虎虾、红虾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突出</a:t>
            </a:r>
            <a:r>
              <a:rPr lang="en-US" altLang="zh-CN" dirty="0"/>
              <a:t>4</a:t>
            </a:r>
            <a:r>
              <a:rPr lang="zh-CN" altLang="en-US" dirty="0"/>
              <a:t>个全球采购办事处（掌控产地的实时价格、质量监控、稳定供应）、印度有个工厂、越南和印度、印尼战略合作伙伴、采购品类（黑虎虾、红虾）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谈到智能化新工厂，这正是今天活动的主角。</a:t>
            </a:r>
            <a:endParaRPr lang="en-US" altLang="zh-CN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/>
              <a:t>公司历来重视工业制造能力，牢牢地把根扎在实业领域，不断探索传统生产模式的转型升级。新工厂导入工业</a:t>
            </a:r>
            <a:r>
              <a:rPr lang="en-US" altLang="zh-CN" dirty="0"/>
              <a:t>4.0</a:t>
            </a:r>
            <a:r>
              <a:rPr lang="zh-CN" altLang="en-US" dirty="0"/>
              <a:t>的设计理念，引进先进的自动化生产设备，结合</a:t>
            </a:r>
            <a:r>
              <a:rPr lang="en-US" altLang="zh-CN" dirty="0"/>
              <a:t>ERP</a:t>
            </a:r>
            <a:r>
              <a:rPr lang="zh-CN" altLang="en-US" dirty="0"/>
              <a:t>等信息管理系统，融合</a:t>
            </a:r>
            <a:r>
              <a:rPr lang="en-US" altLang="zh-CN" dirty="0"/>
              <a:t>5G</a:t>
            </a:r>
            <a:r>
              <a:rPr lang="zh-CN" altLang="en-US" dirty="0"/>
              <a:t>试点示范项目，实现了由水产品加工到海洋食品智能化制造的提质增效，由水产加工厂到“中央厨房”的转型升级。新工厂既满足了大规模批量化订单的需求，又保留了一定的柔性制造能力，以适应部分客户的个性化、定制化需求。</a:t>
            </a:r>
            <a:r>
              <a:rPr lang="en-US" altLang="zh-CN" dirty="0"/>
              <a:t>【</a:t>
            </a:r>
            <a:r>
              <a:rPr lang="zh-CN" altLang="en-US" dirty="0"/>
              <a:t>具体指标，人工环节减少、产能增加，达产后内部收益率为</a:t>
            </a:r>
            <a:r>
              <a:rPr lang="en-US" altLang="zh-CN" dirty="0"/>
              <a:t>13.7%】</a:t>
            </a:r>
          </a:p>
          <a:p>
            <a:r>
              <a:rPr lang="zh-CN" altLang="en-US" dirty="0"/>
              <a:t>目前，公司已形成以智能化工厂为核心、自有工厂为辅助、外协工厂为配套的“</a:t>
            </a:r>
            <a:r>
              <a:rPr lang="en-US" altLang="zh-CN" dirty="0"/>
              <a:t>1+5+N</a:t>
            </a:r>
            <a:r>
              <a:rPr lang="zh-CN" altLang="en-US" dirty="0"/>
              <a:t>”多层次制造体系，一方面，以智能化工厂为标杆，不断优化高品质、深加工、低成本、绿色环保的现代制造模式，引领行业发展方向；另一方面，新工厂将开放合作，按照“统一编号、统一工艺、统一计划、统一品质”的模式，向各层次伙伴开展技术和管理输出，提升行业发展水平。</a:t>
            </a:r>
            <a:endParaRPr lang="en-US" altLang="zh-CN" dirty="0"/>
          </a:p>
          <a:p>
            <a:r>
              <a:rPr lang="zh-CN" altLang="en-US" dirty="0"/>
              <a:t>此外，新工厂作为广东省现代农业产业园的主体，势必带动周边农户、加工厂和饲料厂等参与主体协调发展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D41D67-C768-4232-AB3E-79B2277B50DB}" type="slidenum">
              <a:rPr lang="zh-CN" altLang="en-US" smtClean="0"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/>
              <a:t>加个视频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等更新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8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 userDrawn="1"/>
        </p:nvSpPr>
        <p:spPr bwMode="auto">
          <a:xfrm>
            <a:off x="0" y="0"/>
            <a:ext cx="12210365" cy="5524500"/>
          </a:xfrm>
          <a:custGeom>
            <a:avLst/>
            <a:gdLst>
              <a:gd name="T0" fmla="*/ 2936 w 2936"/>
              <a:gd name="T1" fmla="*/ 1014 h 1329"/>
              <a:gd name="T2" fmla="*/ 741 w 2936"/>
              <a:gd name="T3" fmla="*/ 1317 h 1329"/>
              <a:gd name="T4" fmla="*/ 471 w 2936"/>
              <a:gd name="T5" fmla="*/ 1277 h 1329"/>
              <a:gd name="T6" fmla="*/ 0 w 2936"/>
              <a:gd name="T7" fmla="*/ 1062 h 1329"/>
              <a:gd name="T8" fmla="*/ 0 w 2936"/>
              <a:gd name="T9" fmla="*/ 0 h 1329"/>
              <a:gd name="T10" fmla="*/ 2936 w 2936"/>
              <a:gd name="T11" fmla="*/ 0 h 1329"/>
              <a:gd name="T12" fmla="*/ 2936 w 2936"/>
              <a:gd name="T13" fmla="*/ 1014 h 1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36" h="1329">
                <a:moveTo>
                  <a:pt x="2936" y="1014"/>
                </a:moveTo>
                <a:cubicBezTo>
                  <a:pt x="741" y="1317"/>
                  <a:pt x="741" y="1317"/>
                  <a:pt x="741" y="1317"/>
                </a:cubicBezTo>
                <a:cubicBezTo>
                  <a:pt x="649" y="1329"/>
                  <a:pt x="555" y="1316"/>
                  <a:pt x="471" y="1277"/>
                </a:cubicBezTo>
                <a:cubicBezTo>
                  <a:pt x="0" y="1062"/>
                  <a:pt x="0" y="1062"/>
                  <a:pt x="0" y="1062"/>
                </a:cubicBezTo>
                <a:cubicBezTo>
                  <a:pt x="0" y="0"/>
                  <a:pt x="0" y="0"/>
                  <a:pt x="0" y="0"/>
                </a:cubicBezTo>
                <a:cubicBezTo>
                  <a:pt x="2936" y="0"/>
                  <a:pt x="2936" y="0"/>
                  <a:pt x="2936" y="0"/>
                </a:cubicBezTo>
                <a:lnTo>
                  <a:pt x="2936" y="1014"/>
                </a:lnTo>
                <a:close/>
              </a:path>
            </a:pathLst>
          </a:cu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4" name="Freeform 5_1"/>
          <p:cNvSpPr/>
          <p:nvPr userDrawn="1"/>
        </p:nvSpPr>
        <p:spPr bwMode="auto">
          <a:xfrm>
            <a:off x="0" y="0"/>
            <a:ext cx="12210365" cy="5524500"/>
          </a:xfrm>
          <a:custGeom>
            <a:avLst/>
            <a:gdLst>
              <a:gd name="T0" fmla="*/ 2936 w 2936"/>
              <a:gd name="T1" fmla="*/ 1014 h 1329"/>
              <a:gd name="T2" fmla="*/ 741 w 2936"/>
              <a:gd name="T3" fmla="*/ 1317 h 1329"/>
              <a:gd name="T4" fmla="*/ 471 w 2936"/>
              <a:gd name="T5" fmla="*/ 1277 h 1329"/>
              <a:gd name="T6" fmla="*/ 0 w 2936"/>
              <a:gd name="T7" fmla="*/ 1062 h 1329"/>
              <a:gd name="T8" fmla="*/ 0 w 2936"/>
              <a:gd name="T9" fmla="*/ 0 h 1329"/>
              <a:gd name="T10" fmla="*/ 2936 w 2936"/>
              <a:gd name="T11" fmla="*/ 0 h 1329"/>
              <a:gd name="T12" fmla="*/ 2936 w 2936"/>
              <a:gd name="T13" fmla="*/ 1014 h 1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936" h="1329">
                <a:moveTo>
                  <a:pt x="2936" y="1014"/>
                </a:moveTo>
                <a:cubicBezTo>
                  <a:pt x="741" y="1317"/>
                  <a:pt x="741" y="1317"/>
                  <a:pt x="741" y="1317"/>
                </a:cubicBezTo>
                <a:cubicBezTo>
                  <a:pt x="649" y="1329"/>
                  <a:pt x="555" y="1316"/>
                  <a:pt x="471" y="1277"/>
                </a:cubicBezTo>
                <a:cubicBezTo>
                  <a:pt x="0" y="1062"/>
                  <a:pt x="0" y="1062"/>
                  <a:pt x="0" y="1062"/>
                </a:cubicBezTo>
                <a:cubicBezTo>
                  <a:pt x="0" y="0"/>
                  <a:pt x="0" y="0"/>
                  <a:pt x="0" y="0"/>
                </a:cubicBezTo>
                <a:cubicBezTo>
                  <a:pt x="2936" y="0"/>
                  <a:pt x="2936" y="0"/>
                  <a:pt x="2936" y="0"/>
                </a:cubicBezTo>
                <a:lnTo>
                  <a:pt x="2936" y="1014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99115">
                <a:schemeClr val="accent1"/>
              </a:gs>
              <a:gs pos="58000">
                <a:schemeClr val="accent1">
                  <a:alpha val="20000"/>
                </a:schemeClr>
              </a:gs>
              <a:gs pos="78000">
                <a:schemeClr val="accent1">
                  <a:alpha val="0"/>
                </a:schemeClr>
              </a:gs>
            </a:gsLst>
            <a:lin ang="9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015999" y="3663806"/>
            <a:ext cx="10502899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i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hare and win-win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841501"/>
            <a:ext cx="10845800" cy="167639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4000" i="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ZHANJIANG GUOLIAN AQUATIC PRODUCTS CO., LTD.</a:t>
            </a:r>
            <a:r>
              <a:rPr lang="zh-CN" altLang="en-US" dirty="0"/>
              <a:t/>
            </a:r>
            <a:br>
              <a:rPr lang="zh-CN" altLang="en-US" dirty="0"/>
            </a:br>
            <a:r>
              <a:rPr lang="en-US" altLang="zh-CN" dirty="0"/>
              <a:t>SUPPLY CHAIN SOLUTION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54473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41004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2019.09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任意多边形: 形状 5"/>
          <p:cNvSpPr/>
          <p:nvPr userDrawn="1"/>
        </p:nvSpPr>
        <p:spPr>
          <a:xfrm>
            <a:off x="0" y="4217616"/>
            <a:ext cx="12192000" cy="2640384"/>
          </a:xfrm>
          <a:custGeom>
            <a:avLst/>
            <a:gdLst>
              <a:gd name="connsiteX0" fmla="*/ 12192000 w 12192000"/>
              <a:gd name="connsiteY0" fmla="*/ 0 h 2640384"/>
              <a:gd name="connsiteX1" fmla="*/ 12192000 w 12192000"/>
              <a:gd name="connsiteY1" fmla="*/ 2640384 h 2640384"/>
              <a:gd name="connsiteX2" fmla="*/ 0 w 12192000"/>
              <a:gd name="connsiteY2" fmla="*/ 2640384 h 2640384"/>
              <a:gd name="connsiteX3" fmla="*/ 0 w 12192000"/>
              <a:gd name="connsiteY3" fmla="*/ 196996 h 2640384"/>
              <a:gd name="connsiteX4" fmla="*/ 1958816 w 12192000"/>
              <a:gd name="connsiteY4" fmla="*/ 1090726 h 2640384"/>
              <a:gd name="connsiteX5" fmla="*/ 3081704 w 12192000"/>
              <a:gd name="connsiteY5" fmla="*/ 1257002 h 2640384"/>
              <a:gd name="connsiteX6" fmla="*/ 11789110 w 12192000"/>
              <a:gd name="connsiteY6" fmla="*/ 55589 h 2640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640384">
                <a:moveTo>
                  <a:pt x="12192000" y="0"/>
                </a:moveTo>
                <a:lnTo>
                  <a:pt x="12192000" y="2640384"/>
                </a:lnTo>
                <a:lnTo>
                  <a:pt x="0" y="2640384"/>
                </a:lnTo>
                <a:lnTo>
                  <a:pt x="0" y="196996"/>
                </a:lnTo>
                <a:cubicBezTo>
                  <a:pt x="0" y="196996"/>
                  <a:pt x="0" y="196996"/>
                  <a:pt x="1958816" y="1090726"/>
                </a:cubicBezTo>
                <a:cubicBezTo>
                  <a:pt x="2308159" y="1252845"/>
                  <a:pt x="2699090" y="1306884"/>
                  <a:pt x="3081704" y="1257002"/>
                </a:cubicBezTo>
                <a:cubicBezTo>
                  <a:pt x="3081704" y="1257002"/>
                  <a:pt x="3081704" y="1257002"/>
                  <a:pt x="11789110" y="55589"/>
                </a:cubicBezTo>
                <a:close/>
              </a:path>
            </a:pathLst>
          </a:custGeom>
          <a:blipFill>
            <a:blip r:embed="rId2"/>
            <a:srcRect/>
            <a:stretch>
              <a:fillRect t="-154913" b="-459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4043012" y="2657929"/>
            <a:ext cx="5419185" cy="89535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 hasCustomPrompt="1"/>
          </p:nvPr>
        </p:nvSpPr>
        <p:spPr>
          <a:xfrm>
            <a:off x="4044128" y="3553279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Freeform 5_1"/>
          <p:cNvSpPr/>
          <p:nvPr userDrawn="1"/>
        </p:nvSpPr>
        <p:spPr>
          <a:xfrm>
            <a:off x="0" y="4217616"/>
            <a:ext cx="12192000" cy="2640384"/>
          </a:xfrm>
          <a:custGeom>
            <a:avLst/>
            <a:gdLst>
              <a:gd name="connsiteX0" fmla="*/ 12192000 w 12192000"/>
              <a:gd name="connsiteY0" fmla="*/ 0 h 2640384"/>
              <a:gd name="connsiteX1" fmla="*/ 12192000 w 12192000"/>
              <a:gd name="connsiteY1" fmla="*/ 2640384 h 2640384"/>
              <a:gd name="connsiteX2" fmla="*/ 0 w 12192000"/>
              <a:gd name="connsiteY2" fmla="*/ 2640384 h 2640384"/>
              <a:gd name="connsiteX3" fmla="*/ 0 w 12192000"/>
              <a:gd name="connsiteY3" fmla="*/ 196996 h 2640384"/>
              <a:gd name="connsiteX4" fmla="*/ 1958816 w 12192000"/>
              <a:gd name="connsiteY4" fmla="*/ 1090726 h 2640384"/>
              <a:gd name="connsiteX5" fmla="*/ 3081704 w 12192000"/>
              <a:gd name="connsiteY5" fmla="*/ 1257002 h 2640384"/>
              <a:gd name="connsiteX6" fmla="*/ 11789110 w 12192000"/>
              <a:gd name="connsiteY6" fmla="*/ 55589 h 2640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2640384">
                <a:moveTo>
                  <a:pt x="12192000" y="0"/>
                </a:moveTo>
                <a:lnTo>
                  <a:pt x="12192000" y="2640384"/>
                </a:lnTo>
                <a:lnTo>
                  <a:pt x="0" y="2640384"/>
                </a:lnTo>
                <a:lnTo>
                  <a:pt x="0" y="196996"/>
                </a:lnTo>
                <a:cubicBezTo>
                  <a:pt x="0" y="196996"/>
                  <a:pt x="0" y="196996"/>
                  <a:pt x="1958816" y="1090726"/>
                </a:cubicBezTo>
                <a:cubicBezTo>
                  <a:pt x="2308159" y="1252845"/>
                  <a:pt x="2699090" y="1306884"/>
                  <a:pt x="3081704" y="1257002"/>
                </a:cubicBezTo>
                <a:cubicBezTo>
                  <a:pt x="3081704" y="1257002"/>
                  <a:pt x="3081704" y="1257002"/>
                  <a:pt x="11789110" y="55589"/>
                </a:cubicBezTo>
                <a:close/>
              </a:path>
            </a:pathLst>
          </a:cu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: 形状 9"/>
          <p:cNvSpPr/>
          <p:nvPr userDrawn="1"/>
        </p:nvSpPr>
        <p:spPr bwMode="auto">
          <a:xfrm>
            <a:off x="0" y="0"/>
            <a:ext cx="12210365" cy="3653914"/>
          </a:xfrm>
          <a:custGeom>
            <a:avLst/>
            <a:gdLst>
              <a:gd name="connsiteX0" fmla="*/ 0 w 12210365"/>
              <a:gd name="connsiteY0" fmla="*/ 0 h 3653914"/>
              <a:gd name="connsiteX1" fmla="*/ 12210365 w 12210365"/>
              <a:gd name="connsiteY1" fmla="*/ 0 h 3653914"/>
              <a:gd name="connsiteX2" fmla="*/ 12210365 w 12210365"/>
              <a:gd name="connsiteY2" fmla="*/ 2376478 h 3653914"/>
              <a:gd name="connsiteX3" fmla="*/ 3081704 w 12210365"/>
              <a:gd name="connsiteY3" fmla="*/ 3636014 h 3653914"/>
              <a:gd name="connsiteX4" fmla="*/ 1958816 w 12210365"/>
              <a:gd name="connsiteY4" fmla="*/ 3469738 h 3653914"/>
              <a:gd name="connsiteX5" fmla="*/ 0 w 12210365"/>
              <a:gd name="connsiteY5" fmla="*/ 2576008 h 3653914"/>
              <a:gd name="connsiteX6" fmla="*/ 0 w 12210365"/>
              <a:gd name="connsiteY6" fmla="*/ 23810 h 3653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0365" h="3653914">
                <a:moveTo>
                  <a:pt x="0" y="0"/>
                </a:moveTo>
                <a:lnTo>
                  <a:pt x="12210365" y="0"/>
                </a:lnTo>
                <a:lnTo>
                  <a:pt x="12210365" y="2376478"/>
                </a:lnTo>
                <a:cubicBezTo>
                  <a:pt x="3081704" y="3636014"/>
                  <a:pt x="3081704" y="3636014"/>
                  <a:pt x="3081704" y="3636014"/>
                </a:cubicBezTo>
                <a:cubicBezTo>
                  <a:pt x="2699090" y="3685896"/>
                  <a:pt x="2308158" y="3631857"/>
                  <a:pt x="1958816" y="3469738"/>
                </a:cubicBezTo>
                <a:cubicBezTo>
                  <a:pt x="0" y="2576008"/>
                  <a:pt x="0" y="2576008"/>
                  <a:pt x="0" y="2576008"/>
                </a:cubicBezTo>
                <a:cubicBezTo>
                  <a:pt x="0" y="1472355"/>
                  <a:pt x="0" y="644615"/>
                  <a:pt x="0" y="23810"/>
                </a:cubicBezTo>
                <a:close/>
              </a:path>
            </a:pathLst>
          </a:custGeom>
          <a:blipFill>
            <a:blip r:embed="rId2"/>
            <a:srcRect/>
            <a:stretch>
              <a:fillRect t="-62839" b="-24967"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9" name="任意多边形: 形状 8"/>
          <p:cNvSpPr/>
          <p:nvPr userDrawn="1"/>
        </p:nvSpPr>
        <p:spPr bwMode="auto">
          <a:xfrm>
            <a:off x="0" y="0"/>
            <a:ext cx="12210365" cy="3653914"/>
          </a:xfrm>
          <a:custGeom>
            <a:avLst/>
            <a:gdLst>
              <a:gd name="connsiteX0" fmla="*/ 0 w 12210365"/>
              <a:gd name="connsiteY0" fmla="*/ 0 h 3653914"/>
              <a:gd name="connsiteX1" fmla="*/ 12210365 w 12210365"/>
              <a:gd name="connsiteY1" fmla="*/ 0 h 3653914"/>
              <a:gd name="connsiteX2" fmla="*/ 12210365 w 12210365"/>
              <a:gd name="connsiteY2" fmla="*/ 2376478 h 3653914"/>
              <a:gd name="connsiteX3" fmla="*/ 3081704 w 12210365"/>
              <a:gd name="connsiteY3" fmla="*/ 3636014 h 3653914"/>
              <a:gd name="connsiteX4" fmla="*/ 1958816 w 12210365"/>
              <a:gd name="connsiteY4" fmla="*/ 3469738 h 3653914"/>
              <a:gd name="connsiteX5" fmla="*/ 0 w 12210365"/>
              <a:gd name="connsiteY5" fmla="*/ 2576008 h 3653914"/>
              <a:gd name="connsiteX6" fmla="*/ 0 w 12210365"/>
              <a:gd name="connsiteY6" fmla="*/ 23810 h 3653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10365" h="3653914">
                <a:moveTo>
                  <a:pt x="0" y="0"/>
                </a:moveTo>
                <a:lnTo>
                  <a:pt x="12210365" y="0"/>
                </a:lnTo>
                <a:lnTo>
                  <a:pt x="12210365" y="2376478"/>
                </a:lnTo>
                <a:cubicBezTo>
                  <a:pt x="3081704" y="3636014"/>
                  <a:pt x="3081704" y="3636014"/>
                  <a:pt x="3081704" y="3636014"/>
                </a:cubicBezTo>
                <a:cubicBezTo>
                  <a:pt x="2699090" y="3685896"/>
                  <a:pt x="2308158" y="3631857"/>
                  <a:pt x="1958816" y="3469738"/>
                </a:cubicBezTo>
                <a:cubicBezTo>
                  <a:pt x="0" y="2576008"/>
                  <a:pt x="0" y="2576008"/>
                  <a:pt x="0" y="2576008"/>
                </a:cubicBezTo>
                <a:cubicBezTo>
                  <a:pt x="0" y="1472355"/>
                  <a:pt x="0" y="644615"/>
                  <a:pt x="0" y="2381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99115">
                <a:schemeClr val="accent1"/>
              </a:gs>
              <a:gs pos="58000">
                <a:schemeClr val="accent1">
                  <a:alpha val="20000"/>
                </a:schemeClr>
              </a:gs>
              <a:gs pos="78000">
                <a:schemeClr val="accent1">
                  <a:alpha val="0"/>
                </a:schemeClr>
              </a:gs>
            </a:gsLst>
            <a:lin ang="900000" scaled="0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/>
          </a:p>
        </p:txBody>
      </p: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3004457"/>
            <a:ext cx="10845798" cy="313281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826404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tx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5530133"/>
            <a:ext cx="1084579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F1E06E-DA57-4232-911A-5E62DE585980}" type="datetime1">
              <a:rPr lang="zh-CN" altLang="en-US" smtClean="0"/>
              <a:t>2019/12/3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30F663-AC9D-4B42-AD93-A54DDB2BD633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1FB112-8CE5-422C-AADE-B95E1BE4CE8D}" type="datetimeFigureOut">
              <a:rPr lang="zh-CN" altLang="en-US" smtClean="0"/>
              <a:t>2019/12/3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EF697B-5FA2-4EFF-860C-752FAF6972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transition advClick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5A16FFD-55FB-46A5-B3A3-95893FC258A3}" type="datetimeFigureOut">
              <a:rPr lang="zh-CN" altLang="en-US" smtClean="0"/>
              <a:t>2019/12/3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A39FF064-6F1D-4809-BC24-34926DDB8F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0413" y="144379"/>
            <a:ext cx="1478630" cy="819126"/>
          </a:xfrm>
          <a:prstGeom prst="rect">
            <a:avLst/>
          </a:prstGeom>
        </p:spPr>
      </p:pic>
      <p:sp>
        <p:nvSpPr>
          <p:cNvPr id="8" name="文本占位符 7"/>
          <p:cNvSpPr>
            <a:spLocks noGrp="1"/>
          </p:cNvSpPr>
          <p:nvPr>
            <p:ph type="body" sz="quarter" idx="13" hasCustomPrompt="1"/>
          </p:nvPr>
        </p:nvSpPr>
        <p:spPr>
          <a:xfrm>
            <a:off x="576263" y="477838"/>
            <a:ext cx="7673975" cy="485667"/>
          </a:xfrm>
          <a:prstGeom prst="rect">
            <a:avLst/>
          </a:prstGeom>
        </p:spPr>
        <p:txBody>
          <a:bodyPr/>
          <a:lstStyle>
            <a:lvl1pPr>
              <a:defRPr sz="20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609600" indent="0">
              <a:buNone/>
              <a:defRPr/>
            </a:lvl2pPr>
          </a:lstStyle>
          <a:p>
            <a:pPr lvl="0"/>
            <a:r>
              <a:rPr lang="zh-CN" altLang="en-US" dirty="0"/>
              <a:t>编辑母版文本样式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7" Type="http://schemas.openxmlformats.org/officeDocument/2006/relationships/image" Target="../media/image4.emf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5" Type="http://schemas.openxmlformats.org/officeDocument/2006/relationships/image" Target="../media/image22.pn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3" Type="http://schemas.openxmlformats.org/officeDocument/2006/relationships/image" Target="../media/image14.png"/><Relationship Id="rId7" Type="http://schemas.openxmlformats.org/officeDocument/2006/relationships/image" Target="../media/image33.jpeg"/><Relationship Id="rId12" Type="http://schemas.openxmlformats.org/officeDocument/2006/relationships/image" Target="../media/image38.png"/><Relationship Id="rId17" Type="http://schemas.openxmlformats.org/officeDocument/2006/relationships/image" Target="../media/image43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42.png"/><Relationship Id="rId20" Type="http://schemas.openxmlformats.org/officeDocument/2006/relationships/chart" Target="../charts/chart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jpeg"/><Relationship Id="rId11" Type="http://schemas.openxmlformats.org/officeDocument/2006/relationships/image" Target="../media/image37.png"/><Relationship Id="rId5" Type="http://schemas.openxmlformats.org/officeDocument/2006/relationships/image" Target="../media/image31.emf"/><Relationship Id="rId15" Type="http://schemas.openxmlformats.org/officeDocument/2006/relationships/image" Target="../media/image41.png"/><Relationship Id="rId10" Type="http://schemas.openxmlformats.org/officeDocument/2006/relationships/image" Target="../media/image36.png"/><Relationship Id="rId19" Type="http://schemas.openxmlformats.org/officeDocument/2006/relationships/image" Target="../media/image45.png"/><Relationship Id="rId4" Type="http://schemas.openxmlformats.org/officeDocument/2006/relationships/image" Target="../media/image30.emf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4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58.jpeg"/><Relationship Id="rId4" Type="http://schemas.openxmlformats.org/officeDocument/2006/relationships/image" Target="../media/image57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67.png"/><Relationship Id="rId18" Type="http://schemas.openxmlformats.org/officeDocument/2006/relationships/image" Target="../media/image71.png"/><Relationship Id="rId3" Type="http://schemas.openxmlformats.org/officeDocument/2006/relationships/image" Target="../media/image62.png"/><Relationship Id="rId7" Type="http://schemas.openxmlformats.org/officeDocument/2006/relationships/image" Target="../media/image64.png"/><Relationship Id="rId12" Type="http://schemas.microsoft.com/office/2007/relationships/hdphoto" Target="../media/hdphoto5.wdp"/><Relationship Id="rId17" Type="http://schemas.openxmlformats.org/officeDocument/2006/relationships/image" Target="../media/image70.png"/><Relationship Id="rId2" Type="http://schemas.openxmlformats.org/officeDocument/2006/relationships/image" Target="../media/image14.png"/><Relationship Id="rId16" Type="http://schemas.openxmlformats.org/officeDocument/2006/relationships/image" Target="../media/image69.png"/><Relationship Id="rId1" Type="http://schemas.openxmlformats.org/officeDocument/2006/relationships/slideLayout" Target="../slideLayouts/slideLayout4.xml"/><Relationship Id="rId6" Type="http://schemas.microsoft.com/office/2007/relationships/hdphoto" Target="../media/hdphoto2.wdp"/><Relationship Id="rId11" Type="http://schemas.openxmlformats.org/officeDocument/2006/relationships/image" Target="../media/image66.png"/><Relationship Id="rId5" Type="http://schemas.openxmlformats.org/officeDocument/2006/relationships/image" Target="../media/image63.png"/><Relationship Id="rId15" Type="http://schemas.openxmlformats.org/officeDocument/2006/relationships/image" Target="../media/image68.png"/><Relationship Id="rId10" Type="http://schemas.microsoft.com/office/2007/relationships/hdphoto" Target="../media/hdphoto4.wdp"/><Relationship Id="rId19" Type="http://schemas.openxmlformats.org/officeDocument/2006/relationships/image" Target="../media/image72.png"/><Relationship Id="rId4" Type="http://schemas.microsoft.com/office/2007/relationships/hdphoto" Target="../media/hdphoto1.wdp"/><Relationship Id="rId9" Type="http://schemas.openxmlformats.org/officeDocument/2006/relationships/image" Target="../media/image65.png"/><Relationship Id="rId14" Type="http://schemas.microsoft.com/office/2007/relationships/hdphoto" Target="../media/hdphoto6.wdp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emf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image" Target="../media/image16.png"/><Relationship Id="rId4" Type="http://schemas.openxmlformats.org/officeDocument/2006/relationships/tags" Target="../tags/tag6.xml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: 圆角 11"/>
          <p:cNvSpPr/>
          <p:nvPr/>
        </p:nvSpPr>
        <p:spPr>
          <a:xfrm>
            <a:off x="669925" y="3601391"/>
            <a:ext cx="2145846" cy="442155"/>
          </a:xfrm>
          <a:prstGeom prst="roundRect">
            <a:avLst>
              <a:gd name="adj" fmla="val 50000"/>
            </a:avLst>
          </a:prstGeom>
          <a:solidFill>
            <a:srgbClr val="0033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zh-CN" altLang="en-US" sz="1800" b="0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800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UOLIAN GROUP SUPPLY CHAIN INNOVATION</a:t>
            </a:r>
            <a:endParaRPr lang="zh-CN" altLang="en-US" sz="1800" spc="3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国联水产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spc="3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9.10</a:t>
            </a:r>
          </a:p>
        </p:txBody>
      </p:sp>
      <p:sp>
        <p:nvSpPr>
          <p:cNvPr id="32" name="标题 3"/>
          <p:cNvSpPr txBox="1"/>
          <p:nvPr/>
        </p:nvSpPr>
        <p:spPr>
          <a:xfrm>
            <a:off x="673098" y="1545231"/>
            <a:ext cx="8712776" cy="1367982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Autofit/>
          </a:bodyPr>
          <a:lstStyle>
            <a:lvl1pPr algn="l" defTabSz="91376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sz="5400" dirty="0">
                <a:ln w="38100">
                  <a:noFill/>
                </a:ln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从海洋到餐桌</a:t>
            </a:r>
          </a:p>
          <a:p>
            <a:r>
              <a:rPr lang="zh-CN" altLang="en-US" sz="5400" dirty="0">
                <a:ln w="38100">
                  <a:noFill/>
                </a:ln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联水产供应链创新分享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5569" y="195728"/>
            <a:ext cx="11420198" cy="729893"/>
          </a:xfrm>
        </p:spPr>
        <p:txBody>
          <a:bodyPr/>
          <a:lstStyle/>
          <a:p>
            <a:r>
              <a:rPr lang="zh-CN" alt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全产业链运作模式保证供应链的安全和稳定，可追溯性，可持续发展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0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cxnSp>
        <p:nvCxnSpPr>
          <p:cNvPr id="36" name="直接连接符 35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文本框 40"/>
          <p:cNvSpPr txBox="1"/>
          <p:nvPr/>
        </p:nvSpPr>
        <p:spPr>
          <a:xfrm>
            <a:off x="770252" y="5747689"/>
            <a:ext cx="10850563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从孵化</a:t>
            </a:r>
            <a:r>
              <a:rPr lang="en-US" altLang="zh-CN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zh-CN" altLang="en-US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育苗</a:t>
            </a:r>
            <a:r>
              <a:rPr lang="en-US" altLang="zh-CN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zh-CN" altLang="en-US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饲料</a:t>
            </a:r>
            <a:r>
              <a:rPr lang="en-US" altLang="zh-CN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zh-CN" altLang="en-US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养殖</a:t>
            </a:r>
            <a:r>
              <a:rPr lang="en-US" altLang="zh-CN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zh-CN" altLang="en-US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生产</a:t>
            </a:r>
            <a:r>
              <a:rPr lang="en-US" altLang="zh-CN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zh-CN" altLang="en-US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市场的全产业链。</a:t>
            </a:r>
            <a:endParaRPr lang="en-US" altLang="zh-CN" b="1" dirty="0">
              <a:solidFill>
                <a:srgbClr val="00336C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99" name="组合 98"/>
          <p:cNvGrpSpPr/>
          <p:nvPr/>
        </p:nvGrpSpPr>
        <p:grpSpPr>
          <a:xfrm>
            <a:off x="669924" y="1063067"/>
            <a:ext cx="10850563" cy="4516025"/>
            <a:chOff x="-1542598" y="1706191"/>
            <a:chExt cx="9217359" cy="3836282"/>
          </a:xfrm>
        </p:grpSpPr>
        <p:grpSp>
          <p:nvGrpSpPr>
            <p:cNvPr id="42" name="组合 41"/>
            <p:cNvGrpSpPr/>
            <p:nvPr/>
          </p:nvGrpSpPr>
          <p:grpSpPr>
            <a:xfrm>
              <a:off x="-1542598" y="1706191"/>
              <a:ext cx="9217359" cy="3836282"/>
              <a:chOff x="-1542598" y="1706191"/>
              <a:chExt cx="9217359" cy="3836282"/>
            </a:xfrm>
          </p:grpSpPr>
          <p:grpSp>
            <p:nvGrpSpPr>
              <p:cNvPr id="43" name="244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<p:cNvGrpSpPr>
                <a:grpSpLocks noChangeAspect="1"/>
              </p:cNvGrpSpPr>
              <p:nvPr>
                <p:custDataLst>
                  <p:tags r:id="rId1"/>
                </p:custDataLst>
              </p:nvPr>
            </p:nvGrpSpPr>
            <p:grpSpPr>
              <a:xfrm>
                <a:off x="-1542598" y="1706191"/>
                <a:ext cx="9217359" cy="3836282"/>
                <a:chOff x="1476373" y="1780412"/>
                <a:chExt cx="9217359" cy="3836282"/>
              </a:xfrm>
            </p:grpSpPr>
            <p:grpSp>
              <p:nvGrpSpPr>
                <p:cNvPr id="56" name="îṣlïḋe"/>
                <p:cNvGrpSpPr/>
                <p:nvPr/>
              </p:nvGrpSpPr>
              <p:grpSpPr>
                <a:xfrm>
                  <a:off x="4389564" y="1967617"/>
                  <a:ext cx="3412871" cy="3635699"/>
                  <a:chOff x="4389564" y="1967617"/>
                  <a:chExt cx="3412871" cy="3635699"/>
                </a:xfrm>
              </p:grpSpPr>
              <p:sp>
                <p:nvSpPr>
                  <p:cNvPr id="63" name="ïšļîdé"/>
                  <p:cNvSpPr/>
                  <p:nvPr/>
                </p:nvSpPr>
                <p:spPr bwMode="auto">
                  <a:xfrm flipH="1">
                    <a:off x="4706223" y="1967617"/>
                    <a:ext cx="1835444" cy="1131760"/>
                  </a:xfrm>
                  <a:custGeom>
                    <a:avLst/>
                    <a:gdLst/>
                    <a:ahLst/>
                    <a:cxnLst>
                      <a:cxn ang="0">
                        <a:pos x="112" y="28"/>
                      </a:cxn>
                      <a:cxn ang="0">
                        <a:pos x="109" y="28"/>
                      </a:cxn>
                      <a:cxn ang="0">
                        <a:pos x="109" y="0"/>
                      </a:cxn>
                      <a:cxn ang="0">
                        <a:pos x="78" y="29"/>
                      </a:cxn>
                      <a:cxn ang="0">
                        <a:pos x="0" y="103"/>
                      </a:cxn>
                      <a:cxn ang="0">
                        <a:pos x="72" y="173"/>
                      </a:cxn>
                      <a:cxn ang="0">
                        <a:pos x="109" y="208"/>
                      </a:cxn>
                      <a:cxn ang="0">
                        <a:pos x="109" y="171"/>
                      </a:cxn>
                      <a:cxn ang="0">
                        <a:pos x="109" y="171"/>
                      </a:cxn>
                      <a:cxn ang="0">
                        <a:pos x="307" y="268"/>
                      </a:cxn>
                      <a:cxn ang="0">
                        <a:pos x="329" y="170"/>
                      </a:cxn>
                      <a:cxn ang="0">
                        <a:pos x="433" y="199"/>
                      </a:cxn>
                      <a:cxn ang="0">
                        <a:pos x="112" y="28"/>
                      </a:cxn>
                    </a:cxnLst>
                    <a:rect l="0" t="0" r="r" b="b"/>
                    <a:pathLst>
                      <a:path w="433" h="268">
                        <a:moveTo>
                          <a:pt x="112" y="28"/>
                        </a:moveTo>
                        <a:cubicBezTo>
                          <a:pt x="111" y="28"/>
                          <a:pt x="110" y="28"/>
                          <a:pt x="109" y="28"/>
                        </a:cubicBezTo>
                        <a:cubicBezTo>
                          <a:pt x="109" y="0"/>
                          <a:pt x="109" y="0"/>
                          <a:pt x="109" y="0"/>
                        </a:cubicBezTo>
                        <a:cubicBezTo>
                          <a:pt x="78" y="29"/>
                          <a:pt x="78" y="29"/>
                          <a:pt x="78" y="29"/>
                        </a:cubicBezTo>
                        <a:cubicBezTo>
                          <a:pt x="0" y="103"/>
                          <a:pt x="0" y="103"/>
                          <a:pt x="0" y="103"/>
                        </a:cubicBezTo>
                        <a:cubicBezTo>
                          <a:pt x="72" y="173"/>
                          <a:pt x="72" y="173"/>
                          <a:pt x="72" y="173"/>
                        </a:cubicBezTo>
                        <a:cubicBezTo>
                          <a:pt x="109" y="208"/>
                          <a:pt x="109" y="208"/>
                          <a:pt x="109" y="208"/>
                        </a:cubicBezTo>
                        <a:cubicBezTo>
                          <a:pt x="109" y="171"/>
                          <a:pt x="109" y="171"/>
                          <a:pt x="109" y="171"/>
                        </a:cubicBezTo>
                        <a:cubicBezTo>
                          <a:pt x="109" y="171"/>
                          <a:pt x="109" y="171"/>
                          <a:pt x="109" y="171"/>
                        </a:cubicBezTo>
                        <a:cubicBezTo>
                          <a:pt x="190" y="172"/>
                          <a:pt x="261" y="210"/>
                          <a:pt x="307" y="268"/>
                        </a:cubicBezTo>
                        <a:cubicBezTo>
                          <a:pt x="329" y="170"/>
                          <a:pt x="329" y="170"/>
                          <a:pt x="329" y="170"/>
                        </a:cubicBezTo>
                        <a:cubicBezTo>
                          <a:pt x="433" y="199"/>
                          <a:pt x="433" y="199"/>
                          <a:pt x="433" y="199"/>
                        </a:cubicBezTo>
                        <a:cubicBezTo>
                          <a:pt x="362" y="98"/>
                          <a:pt x="245" y="30"/>
                          <a:pt x="112" y="28"/>
                        </a:cubicBezTo>
                        <a:close/>
                      </a:path>
                    </a:pathLst>
                  </a:custGeom>
                  <a:solidFill>
                    <a:schemeClr val="accent2"/>
                  </a:solidFill>
                  <a:ln w="9525">
                    <a:noFill/>
                    <a:round/>
                  </a:ln>
                </p:spPr>
                <p:txBody>
                  <a:bodyPr wrap="square" lIns="91440" tIns="45720" rIns="91440" bIns="45720" anchor="ctr">
                    <a:normAutofit/>
                  </a:bodyPr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64" name="ïṣľiḑe"/>
                  <p:cNvSpPr/>
                  <p:nvPr/>
                </p:nvSpPr>
                <p:spPr bwMode="auto">
                  <a:xfrm flipH="1">
                    <a:off x="5650334" y="4465694"/>
                    <a:ext cx="1835444" cy="1137622"/>
                  </a:xfrm>
                  <a:custGeom>
                    <a:avLst/>
                    <a:gdLst/>
                    <a:ahLst/>
                    <a:cxnLst>
                      <a:cxn ang="0">
                        <a:pos x="361" y="95"/>
                      </a:cxn>
                      <a:cxn ang="0">
                        <a:pos x="325" y="60"/>
                      </a:cxn>
                      <a:cxn ang="0">
                        <a:pos x="325" y="97"/>
                      </a:cxn>
                      <a:cxn ang="0">
                        <a:pos x="324" y="97"/>
                      </a:cxn>
                      <a:cxn ang="0">
                        <a:pos x="126" y="0"/>
                      </a:cxn>
                      <a:cxn ang="0">
                        <a:pos x="104" y="98"/>
                      </a:cxn>
                      <a:cxn ang="0">
                        <a:pos x="0" y="69"/>
                      </a:cxn>
                      <a:cxn ang="0">
                        <a:pos x="321" y="240"/>
                      </a:cxn>
                      <a:cxn ang="0">
                        <a:pos x="324" y="240"/>
                      </a:cxn>
                      <a:cxn ang="0">
                        <a:pos x="324" y="269"/>
                      </a:cxn>
                      <a:cxn ang="0">
                        <a:pos x="355" y="239"/>
                      </a:cxn>
                      <a:cxn ang="0">
                        <a:pos x="434" y="165"/>
                      </a:cxn>
                      <a:cxn ang="0">
                        <a:pos x="361" y="95"/>
                      </a:cxn>
                    </a:cxnLst>
                    <a:rect l="0" t="0" r="r" b="b"/>
                    <a:pathLst>
                      <a:path w="434" h="269">
                        <a:moveTo>
                          <a:pt x="361" y="95"/>
                        </a:moveTo>
                        <a:cubicBezTo>
                          <a:pt x="325" y="60"/>
                          <a:pt x="325" y="60"/>
                          <a:pt x="325" y="60"/>
                        </a:cubicBezTo>
                        <a:cubicBezTo>
                          <a:pt x="325" y="97"/>
                          <a:pt x="325" y="97"/>
                          <a:pt x="325" y="97"/>
                        </a:cubicBezTo>
                        <a:cubicBezTo>
                          <a:pt x="324" y="97"/>
                          <a:pt x="324" y="97"/>
                          <a:pt x="324" y="97"/>
                        </a:cubicBezTo>
                        <a:cubicBezTo>
                          <a:pt x="244" y="96"/>
                          <a:pt x="173" y="58"/>
                          <a:pt x="126" y="0"/>
                        </a:cubicBezTo>
                        <a:cubicBezTo>
                          <a:pt x="104" y="98"/>
                          <a:pt x="104" y="98"/>
                          <a:pt x="104" y="98"/>
                        </a:cubicBezTo>
                        <a:cubicBezTo>
                          <a:pt x="0" y="69"/>
                          <a:pt x="0" y="69"/>
                          <a:pt x="0" y="69"/>
                        </a:cubicBezTo>
                        <a:cubicBezTo>
                          <a:pt x="71" y="171"/>
                          <a:pt x="188" y="238"/>
                          <a:pt x="321" y="240"/>
                        </a:cubicBezTo>
                        <a:cubicBezTo>
                          <a:pt x="322" y="240"/>
                          <a:pt x="323" y="240"/>
                          <a:pt x="324" y="240"/>
                        </a:cubicBezTo>
                        <a:cubicBezTo>
                          <a:pt x="324" y="269"/>
                          <a:pt x="324" y="269"/>
                          <a:pt x="324" y="269"/>
                        </a:cubicBezTo>
                        <a:cubicBezTo>
                          <a:pt x="355" y="239"/>
                          <a:pt x="355" y="239"/>
                          <a:pt x="355" y="239"/>
                        </a:cubicBezTo>
                        <a:cubicBezTo>
                          <a:pt x="434" y="165"/>
                          <a:pt x="434" y="165"/>
                          <a:pt x="434" y="165"/>
                        </a:cubicBezTo>
                        <a:lnTo>
                          <a:pt x="361" y="95"/>
                        </a:lnTo>
                        <a:close/>
                      </a:path>
                    </a:pathLst>
                  </a:custGeom>
                  <a:solidFill>
                    <a:schemeClr val="accent5"/>
                  </a:solidFill>
                  <a:ln w="9525">
                    <a:noFill/>
                    <a:round/>
                  </a:ln>
                </p:spPr>
                <p:txBody>
                  <a:bodyPr wrap="square" lIns="91440" tIns="45720" rIns="91440" bIns="45720" anchor="ctr">
                    <a:normAutofit/>
                  </a:bodyPr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65" name="iṩḷïdê"/>
                  <p:cNvSpPr/>
                  <p:nvPr/>
                </p:nvSpPr>
                <p:spPr bwMode="auto">
                  <a:xfrm flipH="1">
                    <a:off x="6213281" y="2090759"/>
                    <a:ext cx="1477736" cy="1430823"/>
                  </a:xfrm>
                  <a:custGeom>
                    <a:avLst/>
                    <a:gdLst/>
                    <a:ahLst/>
                    <a:cxnLst>
                      <a:cxn ang="0">
                        <a:pos x="350" y="0"/>
                      </a:cxn>
                      <a:cxn ang="0">
                        <a:pos x="25" y="207"/>
                      </a:cxn>
                      <a:cxn ang="0">
                        <a:pos x="0" y="194"/>
                      </a:cxn>
                      <a:cxn ang="0">
                        <a:pos x="11" y="235"/>
                      </a:cxn>
                      <a:cxn ang="0">
                        <a:pos x="39" y="339"/>
                      </a:cxn>
                      <a:cxn ang="0">
                        <a:pos x="135" y="308"/>
                      </a:cxn>
                      <a:cxn ang="0">
                        <a:pos x="183" y="292"/>
                      </a:cxn>
                      <a:cxn ang="0">
                        <a:pos x="150" y="275"/>
                      </a:cxn>
                      <a:cxn ang="0">
                        <a:pos x="344" y="144"/>
                      </a:cxn>
                      <a:cxn ang="0">
                        <a:pos x="272" y="74"/>
                      </a:cxn>
                      <a:cxn ang="0">
                        <a:pos x="350" y="0"/>
                      </a:cxn>
                    </a:cxnLst>
                    <a:rect l="0" t="0" r="r" b="b"/>
                    <a:pathLst>
                      <a:path w="350" h="339">
                        <a:moveTo>
                          <a:pt x="350" y="0"/>
                        </a:moveTo>
                        <a:cubicBezTo>
                          <a:pt x="210" y="9"/>
                          <a:pt x="89" y="90"/>
                          <a:pt x="25" y="207"/>
                        </a:cubicBezTo>
                        <a:cubicBezTo>
                          <a:pt x="0" y="194"/>
                          <a:pt x="0" y="194"/>
                          <a:pt x="0" y="194"/>
                        </a:cubicBezTo>
                        <a:cubicBezTo>
                          <a:pt x="11" y="235"/>
                          <a:pt x="11" y="235"/>
                          <a:pt x="11" y="235"/>
                        </a:cubicBezTo>
                        <a:cubicBezTo>
                          <a:pt x="39" y="339"/>
                          <a:pt x="39" y="339"/>
                          <a:pt x="39" y="339"/>
                        </a:cubicBezTo>
                        <a:cubicBezTo>
                          <a:pt x="135" y="308"/>
                          <a:pt x="135" y="308"/>
                          <a:pt x="135" y="308"/>
                        </a:cubicBezTo>
                        <a:cubicBezTo>
                          <a:pt x="183" y="292"/>
                          <a:pt x="183" y="292"/>
                          <a:pt x="183" y="292"/>
                        </a:cubicBezTo>
                        <a:cubicBezTo>
                          <a:pt x="150" y="275"/>
                          <a:pt x="150" y="275"/>
                          <a:pt x="150" y="275"/>
                        </a:cubicBezTo>
                        <a:cubicBezTo>
                          <a:pt x="190" y="204"/>
                          <a:pt x="261" y="154"/>
                          <a:pt x="344" y="144"/>
                        </a:cubicBezTo>
                        <a:cubicBezTo>
                          <a:pt x="272" y="74"/>
                          <a:pt x="272" y="74"/>
                          <a:pt x="272" y="74"/>
                        </a:cubicBezTo>
                        <a:lnTo>
                          <a:pt x="350" y="0"/>
                        </a:lnTo>
                        <a:close/>
                      </a:path>
                    </a:pathLst>
                  </a:custGeom>
                  <a:solidFill>
                    <a:schemeClr val="accent3"/>
                  </a:solidFill>
                  <a:ln w="9525">
                    <a:noFill/>
                    <a:round/>
                  </a:ln>
                </p:spPr>
                <p:txBody>
                  <a:bodyPr wrap="square" lIns="91440" tIns="45720" rIns="91440" bIns="45720" anchor="ctr">
                    <a:normAutofit/>
                  </a:bodyPr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66" name="ïṡľiḍe"/>
                  <p:cNvSpPr/>
                  <p:nvPr/>
                </p:nvSpPr>
                <p:spPr bwMode="auto">
                  <a:xfrm flipH="1">
                    <a:off x="4500982" y="4043483"/>
                    <a:ext cx="1483602" cy="1436689"/>
                  </a:xfrm>
                  <a:custGeom>
                    <a:avLst/>
                    <a:gdLst/>
                    <a:ahLst/>
                    <a:cxnLst>
                      <a:cxn ang="0">
                        <a:pos x="340" y="104"/>
                      </a:cxn>
                      <a:cxn ang="0">
                        <a:pos x="311" y="0"/>
                      </a:cxn>
                      <a:cxn ang="0">
                        <a:pos x="216" y="31"/>
                      </a:cxn>
                      <a:cxn ang="0">
                        <a:pos x="168" y="47"/>
                      </a:cxn>
                      <a:cxn ang="0">
                        <a:pos x="200" y="64"/>
                      </a:cxn>
                      <a:cxn ang="0">
                        <a:pos x="6" y="195"/>
                      </a:cxn>
                      <a:cxn ang="0">
                        <a:pos x="79" y="265"/>
                      </a:cxn>
                      <a:cxn ang="0">
                        <a:pos x="0" y="339"/>
                      </a:cxn>
                      <a:cxn ang="0">
                        <a:pos x="326" y="132"/>
                      </a:cxn>
                      <a:cxn ang="0">
                        <a:pos x="351" y="145"/>
                      </a:cxn>
                      <a:cxn ang="0">
                        <a:pos x="340" y="104"/>
                      </a:cxn>
                    </a:cxnLst>
                    <a:rect l="0" t="0" r="r" b="b"/>
                    <a:pathLst>
                      <a:path w="351" h="339">
                        <a:moveTo>
                          <a:pt x="340" y="104"/>
                        </a:moveTo>
                        <a:cubicBezTo>
                          <a:pt x="311" y="0"/>
                          <a:pt x="311" y="0"/>
                          <a:pt x="311" y="0"/>
                        </a:cubicBezTo>
                        <a:cubicBezTo>
                          <a:pt x="216" y="31"/>
                          <a:pt x="216" y="31"/>
                          <a:pt x="216" y="31"/>
                        </a:cubicBezTo>
                        <a:cubicBezTo>
                          <a:pt x="168" y="47"/>
                          <a:pt x="168" y="47"/>
                          <a:pt x="168" y="47"/>
                        </a:cubicBezTo>
                        <a:cubicBezTo>
                          <a:pt x="200" y="64"/>
                          <a:pt x="200" y="64"/>
                          <a:pt x="200" y="64"/>
                        </a:cubicBezTo>
                        <a:cubicBezTo>
                          <a:pt x="161" y="135"/>
                          <a:pt x="89" y="185"/>
                          <a:pt x="6" y="195"/>
                        </a:cubicBezTo>
                        <a:cubicBezTo>
                          <a:pt x="79" y="265"/>
                          <a:pt x="79" y="265"/>
                          <a:pt x="79" y="265"/>
                        </a:cubicBezTo>
                        <a:cubicBezTo>
                          <a:pt x="0" y="339"/>
                          <a:pt x="0" y="339"/>
                          <a:pt x="0" y="339"/>
                        </a:cubicBezTo>
                        <a:cubicBezTo>
                          <a:pt x="140" y="330"/>
                          <a:pt x="261" y="249"/>
                          <a:pt x="326" y="132"/>
                        </a:cubicBezTo>
                        <a:cubicBezTo>
                          <a:pt x="351" y="145"/>
                          <a:pt x="351" y="145"/>
                          <a:pt x="351" y="145"/>
                        </a:cubicBezTo>
                        <a:cubicBezTo>
                          <a:pt x="340" y="104"/>
                          <a:pt x="340" y="104"/>
                          <a:pt x="340" y="104"/>
                        </a:cubicBezTo>
                      </a:path>
                    </a:pathLst>
                  </a:custGeom>
                  <a:solidFill>
                    <a:schemeClr val="accent6"/>
                  </a:solidFill>
                  <a:ln w="9525">
                    <a:noFill/>
                    <a:round/>
                  </a:ln>
                </p:spPr>
                <p:txBody>
                  <a:bodyPr wrap="square" lIns="91440" tIns="45720" rIns="91440" bIns="45720" anchor="ctr">
                    <a:normAutofit/>
                  </a:bodyPr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67" name="ïš1iḋe"/>
                  <p:cNvSpPr/>
                  <p:nvPr/>
                </p:nvSpPr>
                <p:spPr bwMode="auto">
                  <a:xfrm flipH="1">
                    <a:off x="6911103" y="3081782"/>
                    <a:ext cx="891332" cy="1800259"/>
                  </a:xfrm>
                  <a:custGeom>
                    <a:avLst/>
                    <a:gdLst/>
                    <a:ahLst/>
                    <a:cxnLst>
                      <a:cxn ang="0">
                        <a:pos x="179" y="297"/>
                      </a:cxn>
                      <a:cxn ang="0">
                        <a:pos x="144" y="161"/>
                      </a:cxn>
                      <a:cxn ang="0">
                        <a:pos x="161" y="73"/>
                      </a:cxn>
                      <a:cxn ang="0">
                        <a:pos x="65" y="104"/>
                      </a:cxn>
                      <a:cxn ang="0">
                        <a:pos x="37" y="0"/>
                      </a:cxn>
                      <a:cxn ang="0">
                        <a:pos x="1" y="158"/>
                      </a:cxn>
                      <a:cxn ang="0">
                        <a:pos x="57" y="370"/>
                      </a:cxn>
                      <a:cxn ang="0">
                        <a:pos x="33" y="385"/>
                      </a:cxn>
                      <a:cxn ang="0">
                        <a:pos x="74" y="396"/>
                      </a:cxn>
                      <a:cxn ang="0">
                        <a:pos x="178" y="425"/>
                      </a:cxn>
                      <a:cxn ang="0">
                        <a:pos x="200" y="327"/>
                      </a:cxn>
                      <a:cxn ang="0">
                        <a:pos x="211" y="277"/>
                      </a:cxn>
                      <a:cxn ang="0">
                        <a:pos x="179" y="297"/>
                      </a:cxn>
                    </a:cxnLst>
                    <a:rect l="0" t="0" r="r" b="b"/>
                    <a:pathLst>
                      <a:path w="211" h="425">
                        <a:moveTo>
                          <a:pt x="179" y="297"/>
                        </a:moveTo>
                        <a:cubicBezTo>
                          <a:pt x="156" y="257"/>
                          <a:pt x="143" y="210"/>
                          <a:pt x="144" y="161"/>
                        </a:cubicBezTo>
                        <a:cubicBezTo>
                          <a:pt x="144" y="130"/>
                          <a:pt x="150" y="100"/>
                          <a:pt x="161" y="73"/>
                        </a:cubicBezTo>
                        <a:cubicBezTo>
                          <a:pt x="65" y="104"/>
                          <a:pt x="65" y="104"/>
                          <a:pt x="65" y="104"/>
                        </a:cubicBezTo>
                        <a:cubicBezTo>
                          <a:pt x="37" y="0"/>
                          <a:pt x="37" y="0"/>
                          <a:pt x="37" y="0"/>
                        </a:cubicBezTo>
                        <a:cubicBezTo>
                          <a:pt x="15" y="48"/>
                          <a:pt x="2" y="102"/>
                          <a:pt x="1" y="158"/>
                        </a:cubicBezTo>
                        <a:cubicBezTo>
                          <a:pt x="0" y="236"/>
                          <a:pt x="20" y="308"/>
                          <a:pt x="57" y="370"/>
                        </a:cubicBezTo>
                        <a:cubicBezTo>
                          <a:pt x="33" y="385"/>
                          <a:pt x="33" y="385"/>
                          <a:pt x="33" y="385"/>
                        </a:cubicBezTo>
                        <a:cubicBezTo>
                          <a:pt x="74" y="396"/>
                          <a:pt x="74" y="396"/>
                          <a:pt x="74" y="396"/>
                        </a:cubicBezTo>
                        <a:cubicBezTo>
                          <a:pt x="178" y="425"/>
                          <a:pt x="178" y="425"/>
                          <a:pt x="178" y="425"/>
                        </a:cubicBezTo>
                        <a:cubicBezTo>
                          <a:pt x="200" y="327"/>
                          <a:pt x="200" y="327"/>
                          <a:pt x="200" y="327"/>
                        </a:cubicBezTo>
                        <a:cubicBezTo>
                          <a:pt x="211" y="277"/>
                          <a:pt x="211" y="277"/>
                          <a:pt x="211" y="277"/>
                        </a:cubicBezTo>
                        <a:lnTo>
                          <a:pt x="179" y="297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  <a:round/>
                  </a:ln>
                </p:spPr>
                <p:txBody>
                  <a:bodyPr wrap="square" lIns="91440" tIns="45720" rIns="91440" bIns="45720" anchor="ctr">
                    <a:normAutofit/>
                  </a:bodyPr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68" name="íṧ1íďé"/>
                  <p:cNvSpPr/>
                  <p:nvPr/>
                </p:nvSpPr>
                <p:spPr bwMode="auto">
                  <a:xfrm flipH="1">
                    <a:off x="4389564" y="2683029"/>
                    <a:ext cx="897200" cy="1800259"/>
                  </a:xfrm>
                  <a:custGeom>
                    <a:avLst/>
                    <a:gdLst/>
                    <a:ahLst/>
                    <a:cxnLst>
                      <a:cxn ang="0">
                        <a:pos x="154" y="55"/>
                      </a:cxn>
                      <a:cxn ang="0">
                        <a:pos x="179" y="40"/>
                      </a:cxn>
                      <a:cxn ang="0">
                        <a:pos x="137" y="29"/>
                      </a:cxn>
                      <a:cxn ang="0">
                        <a:pos x="33" y="0"/>
                      </a:cxn>
                      <a:cxn ang="0">
                        <a:pos x="11" y="98"/>
                      </a:cxn>
                      <a:cxn ang="0">
                        <a:pos x="0" y="148"/>
                      </a:cxn>
                      <a:cxn ang="0">
                        <a:pos x="32" y="129"/>
                      </a:cxn>
                      <a:cxn ang="0">
                        <a:pos x="67" y="264"/>
                      </a:cxn>
                      <a:cxn ang="0">
                        <a:pos x="51" y="352"/>
                      </a:cxn>
                      <a:cxn ang="0">
                        <a:pos x="146" y="321"/>
                      </a:cxn>
                      <a:cxn ang="0">
                        <a:pos x="175" y="425"/>
                      </a:cxn>
                      <a:cxn ang="0">
                        <a:pos x="210" y="267"/>
                      </a:cxn>
                      <a:cxn ang="0">
                        <a:pos x="154" y="55"/>
                      </a:cxn>
                    </a:cxnLst>
                    <a:rect l="0" t="0" r="r" b="b"/>
                    <a:pathLst>
                      <a:path w="212" h="425">
                        <a:moveTo>
                          <a:pt x="154" y="55"/>
                        </a:moveTo>
                        <a:cubicBezTo>
                          <a:pt x="179" y="40"/>
                          <a:pt x="179" y="40"/>
                          <a:pt x="179" y="40"/>
                        </a:cubicBezTo>
                        <a:cubicBezTo>
                          <a:pt x="137" y="29"/>
                          <a:pt x="137" y="29"/>
                          <a:pt x="137" y="29"/>
                        </a:cubicBezTo>
                        <a:cubicBezTo>
                          <a:pt x="33" y="0"/>
                          <a:pt x="33" y="0"/>
                          <a:pt x="33" y="0"/>
                        </a:cubicBezTo>
                        <a:cubicBezTo>
                          <a:pt x="11" y="98"/>
                          <a:pt x="11" y="98"/>
                          <a:pt x="11" y="98"/>
                        </a:cubicBezTo>
                        <a:cubicBezTo>
                          <a:pt x="0" y="148"/>
                          <a:pt x="0" y="148"/>
                          <a:pt x="0" y="148"/>
                        </a:cubicBezTo>
                        <a:cubicBezTo>
                          <a:pt x="32" y="129"/>
                          <a:pt x="32" y="129"/>
                          <a:pt x="32" y="129"/>
                        </a:cubicBezTo>
                        <a:cubicBezTo>
                          <a:pt x="55" y="168"/>
                          <a:pt x="68" y="215"/>
                          <a:pt x="67" y="264"/>
                        </a:cubicBezTo>
                        <a:cubicBezTo>
                          <a:pt x="67" y="295"/>
                          <a:pt x="61" y="325"/>
                          <a:pt x="51" y="352"/>
                        </a:cubicBezTo>
                        <a:cubicBezTo>
                          <a:pt x="146" y="321"/>
                          <a:pt x="146" y="321"/>
                          <a:pt x="146" y="321"/>
                        </a:cubicBezTo>
                        <a:cubicBezTo>
                          <a:pt x="175" y="425"/>
                          <a:pt x="175" y="425"/>
                          <a:pt x="175" y="425"/>
                        </a:cubicBezTo>
                        <a:cubicBezTo>
                          <a:pt x="197" y="377"/>
                          <a:pt x="209" y="323"/>
                          <a:pt x="210" y="267"/>
                        </a:cubicBezTo>
                        <a:cubicBezTo>
                          <a:pt x="212" y="189"/>
                          <a:pt x="191" y="117"/>
                          <a:pt x="154" y="55"/>
                        </a:cubicBezTo>
                        <a:close/>
                      </a:path>
                    </a:pathLst>
                  </a:custGeom>
                  <a:solidFill>
                    <a:schemeClr val="accent1"/>
                  </a:solidFill>
                  <a:ln w="9525">
                    <a:noFill/>
                    <a:round/>
                  </a:ln>
                </p:spPr>
                <p:txBody>
                  <a:bodyPr wrap="square" lIns="91440" tIns="45720" rIns="91440" bIns="45720" anchor="ctr">
                    <a:normAutofit/>
                  </a:bodyPr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69" name="î$ľîdè"/>
                  <p:cNvSpPr/>
                  <p:nvPr/>
                </p:nvSpPr>
                <p:spPr bwMode="auto">
                  <a:xfrm>
                    <a:off x="5075378" y="4706937"/>
                    <a:ext cx="411345" cy="411345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>
                    <a:noFill/>
                    <a:round/>
                  </a:ln>
                </p:spPr>
                <p:txBody>
                  <a:bodyPr wrap="square" lIns="91440" tIns="45720" rIns="91440" bIns="45720" anchor="ctr">
                    <a:normAutofit fontScale="92500" lnSpcReduction="10000"/>
                  </a:bodyPr>
                  <a:lstStyle/>
                  <a:p>
                    <a:pPr algn="ctr"/>
                    <a:endParaRPr dirty="0"/>
                  </a:p>
                </p:txBody>
              </p:sp>
              <p:grpSp>
                <p:nvGrpSpPr>
                  <p:cNvPr id="70" name="iṣļíḋé"/>
                  <p:cNvGrpSpPr/>
                  <p:nvPr/>
                </p:nvGrpSpPr>
                <p:grpSpPr>
                  <a:xfrm>
                    <a:off x="7290166" y="3750800"/>
                    <a:ext cx="419102" cy="411345"/>
                    <a:chOff x="5489054" y="3284900"/>
                    <a:chExt cx="289152" cy="283800"/>
                  </a:xfrm>
                </p:grpSpPr>
                <p:sp>
                  <p:nvSpPr>
                    <p:cNvPr id="83" name="îŝľíḑe"/>
                    <p:cNvSpPr/>
                    <p:nvPr/>
                  </p:nvSpPr>
                  <p:spPr bwMode="auto">
                    <a:xfrm>
                      <a:off x="5489054" y="3284900"/>
                      <a:ext cx="289152" cy="283800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9525">
                      <a:noFill/>
                      <a:round/>
                    </a:ln>
                  </p:spPr>
                  <p:txBody>
                    <a:bodyPr wrap="square" lIns="91440" tIns="45720" rIns="91440" bIns="45720" anchor="ctr">
                      <a:normAutofit fontScale="92500" lnSpcReduction="10000"/>
                    </a:bodyPr>
                    <a:lstStyle/>
                    <a:p>
                      <a:pPr algn="ctr"/>
                      <a:endParaRPr dirty="0"/>
                    </a:p>
                  </p:txBody>
                </p:sp>
                <p:grpSp>
                  <p:nvGrpSpPr>
                    <p:cNvPr id="84" name="ïṡľïḑê"/>
                    <p:cNvGrpSpPr/>
                    <p:nvPr/>
                  </p:nvGrpSpPr>
                  <p:grpSpPr>
                    <a:xfrm>
                      <a:off x="5556759" y="3483440"/>
                      <a:ext cx="153740" cy="12139"/>
                      <a:chOff x="5553945" y="3487206"/>
                      <a:chExt cx="153740" cy="12139"/>
                    </a:xfrm>
                    <a:solidFill>
                      <a:schemeClr val="accent4"/>
                    </a:solidFill>
                  </p:grpSpPr>
                  <p:sp>
                    <p:nvSpPr>
                      <p:cNvPr id="85" name="ïSḷîde"/>
                      <p:cNvSpPr/>
                      <p:nvPr/>
                    </p:nvSpPr>
                    <p:spPr bwMode="auto">
                      <a:xfrm>
                        <a:off x="5659136" y="3487206"/>
                        <a:ext cx="48549" cy="12139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7" y="0"/>
                          </a:cxn>
                          <a:cxn ang="0">
                            <a:pos x="0" y="0"/>
                          </a:cxn>
                          <a:cxn ang="0">
                            <a:pos x="0" y="3"/>
                          </a:cxn>
                          <a:cxn ang="0">
                            <a:pos x="2" y="5"/>
                          </a:cxn>
                          <a:cxn ang="0">
                            <a:pos x="15" y="5"/>
                          </a:cxn>
                          <a:cxn ang="0">
                            <a:pos x="17" y="3"/>
                          </a:cxn>
                          <a:cxn ang="0">
                            <a:pos x="17" y="0"/>
                          </a:cxn>
                        </a:cxnLst>
                        <a:rect l="0" t="0" r="r" b="b"/>
                        <a:pathLst>
                          <a:path w="17" h="5">
                            <a:moveTo>
                              <a:pt x="17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3"/>
                              <a:pt x="0" y="3"/>
                              <a:pt x="0" y="3"/>
                            </a:cubicBezTo>
                            <a:cubicBezTo>
                              <a:pt x="0" y="4"/>
                              <a:pt x="1" y="5"/>
                              <a:pt x="2" y="5"/>
                            </a:cubicBezTo>
                            <a:cubicBezTo>
                              <a:pt x="15" y="5"/>
                              <a:pt x="15" y="5"/>
                              <a:pt x="15" y="5"/>
                            </a:cubicBezTo>
                            <a:cubicBezTo>
                              <a:pt x="16" y="5"/>
                              <a:pt x="17" y="4"/>
                              <a:pt x="17" y="3"/>
                            </a:cubicBezTo>
                            <a:cubicBezTo>
                              <a:pt x="17" y="0"/>
                              <a:pt x="17" y="0"/>
                              <a:pt x="17" y="0"/>
                            </a:cubicBezTo>
                          </a:path>
                        </a:pathLst>
                      </a:custGeom>
                      <a:grpFill/>
                      <a:ln w="9525">
                        <a:noFill/>
                        <a:round/>
                      </a:ln>
                    </p:spPr>
                    <p:txBody>
                      <a:bodyPr wrap="square" lIns="91440" tIns="45720" rIns="91440" bIns="45720" anchor="ctr">
                        <a:normAutofit fontScale="25000" lnSpcReduction="20000"/>
                      </a:bodyPr>
                      <a:lstStyle/>
                      <a:p>
                        <a:pPr algn="ctr"/>
                        <a:endParaRPr/>
                      </a:p>
                    </p:txBody>
                  </p:sp>
                  <p:sp>
                    <p:nvSpPr>
                      <p:cNvPr id="86" name="ïşḷiḋè"/>
                      <p:cNvSpPr/>
                      <p:nvPr/>
                    </p:nvSpPr>
                    <p:spPr bwMode="auto">
                      <a:xfrm>
                        <a:off x="5553945" y="3487206"/>
                        <a:ext cx="48549" cy="12139"/>
                      </a:xfrm>
                      <a:custGeom>
                        <a:avLst/>
                        <a:gdLst/>
                        <a:ahLst/>
                        <a:cxnLst>
                          <a:cxn ang="0">
                            <a:pos x="16" y="0"/>
                          </a:cxn>
                          <a:cxn ang="0">
                            <a:pos x="0" y="0"/>
                          </a:cxn>
                          <a:cxn ang="0">
                            <a:pos x="0" y="3"/>
                          </a:cxn>
                          <a:cxn ang="0">
                            <a:pos x="2" y="5"/>
                          </a:cxn>
                          <a:cxn ang="0">
                            <a:pos x="14" y="5"/>
                          </a:cxn>
                          <a:cxn ang="0">
                            <a:pos x="16" y="3"/>
                          </a:cxn>
                          <a:cxn ang="0">
                            <a:pos x="16" y="0"/>
                          </a:cxn>
                        </a:cxnLst>
                        <a:rect l="0" t="0" r="r" b="b"/>
                        <a:pathLst>
                          <a:path w="16" h="5">
                            <a:moveTo>
                              <a:pt x="16" y="0"/>
                            </a:moveTo>
                            <a:cubicBezTo>
                              <a:pt x="0" y="0"/>
                              <a:pt x="0" y="0"/>
                              <a:pt x="0" y="0"/>
                            </a:cubicBezTo>
                            <a:cubicBezTo>
                              <a:pt x="0" y="3"/>
                              <a:pt x="0" y="3"/>
                              <a:pt x="0" y="3"/>
                            </a:cubicBezTo>
                            <a:cubicBezTo>
                              <a:pt x="0" y="4"/>
                              <a:pt x="1" y="5"/>
                              <a:pt x="2" y="5"/>
                            </a:cubicBezTo>
                            <a:cubicBezTo>
                              <a:pt x="14" y="5"/>
                              <a:pt x="14" y="5"/>
                              <a:pt x="14" y="5"/>
                            </a:cubicBezTo>
                            <a:cubicBezTo>
                              <a:pt x="15" y="5"/>
                              <a:pt x="16" y="4"/>
                              <a:pt x="16" y="3"/>
                            </a:cubicBezTo>
                            <a:cubicBezTo>
                              <a:pt x="16" y="0"/>
                              <a:pt x="16" y="0"/>
                              <a:pt x="16" y="0"/>
                            </a:cubicBezTo>
                          </a:path>
                        </a:pathLst>
                      </a:custGeom>
                      <a:grpFill/>
                      <a:ln w="9525">
                        <a:noFill/>
                        <a:round/>
                      </a:ln>
                    </p:spPr>
                    <p:txBody>
                      <a:bodyPr wrap="square" lIns="91440" tIns="45720" rIns="91440" bIns="45720" anchor="ctr">
                        <a:normAutofit fontScale="25000" lnSpcReduction="20000"/>
                      </a:bodyPr>
                      <a:lstStyle/>
                      <a:p>
                        <a:pPr algn="ctr"/>
                        <a:endParaRPr/>
                      </a:p>
                    </p:txBody>
                  </p:sp>
                </p:grpSp>
              </p:grpSp>
              <p:grpSp>
                <p:nvGrpSpPr>
                  <p:cNvPr id="71" name="ïṧliḍe"/>
                  <p:cNvGrpSpPr/>
                  <p:nvPr/>
                </p:nvGrpSpPr>
                <p:grpSpPr>
                  <a:xfrm>
                    <a:off x="4491096" y="3427192"/>
                    <a:ext cx="411345" cy="411345"/>
                    <a:chOff x="3767435" y="2432982"/>
                    <a:chExt cx="283800" cy="283800"/>
                  </a:xfrm>
                </p:grpSpPr>
                <p:sp>
                  <p:nvSpPr>
                    <p:cNvPr id="81" name="iṩḷíḓê"/>
                    <p:cNvSpPr/>
                    <p:nvPr/>
                  </p:nvSpPr>
                  <p:spPr bwMode="auto">
                    <a:xfrm>
                      <a:off x="3767435" y="2432982"/>
                      <a:ext cx="283800" cy="283800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9525">
                      <a:noFill/>
                      <a:round/>
                    </a:ln>
                  </p:spPr>
                  <p:txBody>
                    <a:bodyPr wrap="square" lIns="91440" tIns="45720" rIns="91440" bIns="45720" anchor="ctr">
                      <a:normAutofit fontScale="92500" lnSpcReduction="10000"/>
                    </a:bodyPr>
                    <a:lstStyle/>
                    <a:p>
                      <a:pPr algn="ctr"/>
                      <a:endParaRPr dirty="0"/>
                    </a:p>
                  </p:txBody>
                </p:sp>
                <p:sp>
                  <p:nvSpPr>
                    <p:cNvPr id="82" name="iSḷïďè"/>
                    <p:cNvSpPr/>
                    <p:nvPr/>
                  </p:nvSpPr>
                  <p:spPr bwMode="auto">
                    <a:xfrm>
                      <a:off x="3901243" y="2580952"/>
                      <a:ext cx="16183" cy="20230"/>
                    </a:xfrm>
                    <a:custGeom>
                      <a:avLst/>
                      <a:gdLst/>
                      <a:ahLst/>
                      <a:cxnLst>
                        <a:cxn ang="0">
                          <a:pos x="5" y="7"/>
                        </a:cxn>
                        <a:cxn ang="0">
                          <a:pos x="5" y="7"/>
                        </a:cxn>
                        <a:cxn ang="0">
                          <a:pos x="5" y="1"/>
                        </a:cxn>
                        <a:cxn ang="0">
                          <a:pos x="5" y="0"/>
                        </a:cxn>
                        <a:cxn ang="0">
                          <a:pos x="0" y="0"/>
                        </a:cxn>
                        <a:cxn ang="0">
                          <a:pos x="0" y="1"/>
                        </a:cxn>
                        <a:cxn ang="0">
                          <a:pos x="0" y="7"/>
                        </a:cxn>
                        <a:cxn ang="0">
                          <a:pos x="0" y="7"/>
                        </a:cxn>
                        <a:cxn ang="0">
                          <a:pos x="5" y="7"/>
                        </a:cxn>
                      </a:cxnLst>
                      <a:rect l="0" t="0" r="r" b="b"/>
                      <a:pathLst>
                        <a:path w="5" h="7">
                          <a:moveTo>
                            <a:pt x="5" y="7"/>
                          </a:moveTo>
                          <a:cubicBezTo>
                            <a:pt x="5" y="7"/>
                            <a:pt x="5" y="7"/>
                            <a:pt x="5" y="7"/>
                          </a:cubicBezTo>
                          <a:cubicBezTo>
                            <a:pt x="5" y="1"/>
                            <a:pt x="5" y="1"/>
                            <a:pt x="5" y="1"/>
                          </a:cubicBezTo>
                          <a:cubicBezTo>
                            <a:pt x="5" y="0"/>
                            <a:pt x="5" y="0"/>
                            <a:pt x="5" y="0"/>
                          </a:cubicBezTo>
                          <a:cubicBezTo>
                            <a:pt x="0" y="0"/>
                            <a:pt x="0" y="0"/>
                            <a:pt x="0" y="0"/>
                          </a:cubicBezTo>
                          <a:cubicBezTo>
                            <a:pt x="0" y="0"/>
                            <a:pt x="0" y="0"/>
                            <a:pt x="0" y="1"/>
                          </a:cubicBezTo>
                          <a:cubicBezTo>
                            <a:pt x="0" y="7"/>
                            <a:pt x="0" y="7"/>
                            <a:pt x="0" y="7"/>
                          </a:cubicBezTo>
                          <a:cubicBezTo>
                            <a:pt x="0" y="7"/>
                            <a:pt x="0" y="7"/>
                            <a:pt x="0" y="7"/>
                          </a:cubicBezTo>
                          <a:lnTo>
                            <a:pt x="5" y="7"/>
                          </a:lnTo>
                          <a:close/>
                        </a:path>
                      </a:pathLst>
                    </a:custGeom>
                    <a:solidFill>
                      <a:schemeClr val="accent1"/>
                    </a:solidFill>
                    <a:ln w="9525">
                      <a:noFill/>
                      <a:round/>
                    </a:ln>
                  </p:spPr>
                  <p:txBody>
                    <a:bodyPr wrap="square" lIns="91440" tIns="45720" rIns="91440" bIns="45720" anchor="ctr">
                      <a:normAutofit fontScale="25000" lnSpcReduction="20000"/>
                    </a:bodyPr>
                    <a:lstStyle/>
                    <a:p>
                      <a:pPr algn="ctr"/>
                      <a:endParaRPr/>
                    </a:p>
                  </p:txBody>
                </p:sp>
              </p:grpSp>
              <p:sp>
                <p:nvSpPr>
                  <p:cNvPr id="72" name="îṡliḋé"/>
                  <p:cNvSpPr/>
                  <p:nvPr/>
                </p:nvSpPr>
                <p:spPr bwMode="auto">
                  <a:xfrm>
                    <a:off x="6728734" y="2453064"/>
                    <a:ext cx="419102" cy="411345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>
                    <a:noFill/>
                    <a:round/>
                  </a:ln>
                </p:spPr>
                <p:txBody>
                  <a:bodyPr wrap="square" lIns="91440" tIns="45720" rIns="91440" bIns="45720" anchor="ctr">
                    <a:normAutofit fontScale="92500" lnSpcReduction="10000"/>
                  </a:bodyPr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73" name="íṡlïḓe"/>
                  <p:cNvSpPr/>
                  <p:nvPr/>
                </p:nvSpPr>
                <p:spPr bwMode="auto">
                  <a:xfrm>
                    <a:off x="5373613" y="2303264"/>
                    <a:ext cx="411345" cy="419102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>
                    <a:noFill/>
                    <a:round/>
                  </a:ln>
                </p:spPr>
                <p:txBody>
                  <a:bodyPr wrap="square" lIns="91440" tIns="45720" rIns="91440" bIns="45720" anchor="ctr">
                    <a:normAutofit fontScale="92500" lnSpcReduction="10000"/>
                  </a:bodyPr>
                  <a:lstStyle/>
                  <a:p>
                    <a:pPr algn="ctr"/>
                    <a:endParaRPr/>
                  </a:p>
                </p:txBody>
              </p:sp>
              <p:sp>
                <p:nvSpPr>
                  <p:cNvPr id="74" name="i$ḷïḍé"/>
                  <p:cNvSpPr/>
                  <p:nvPr/>
                </p:nvSpPr>
                <p:spPr bwMode="auto">
                  <a:xfrm>
                    <a:off x="6461824" y="4855257"/>
                    <a:ext cx="419102" cy="411345"/>
                  </a:xfrm>
                  <a:prstGeom prst="ellipse">
                    <a:avLst/>
                  </a:prstGeom>
                  <a:solidFill>
                    <a:srgbClr val="FFFFFF"/>
                  </a:solidFill>
                  <a:ln w="9525">
                    <a:noFill/>
                    <a:round/>
                  </a:ln>
                </p:spPr>
                <p:txBody>
                  <a:bodyPr wrap="square" lIns="91440" tIns="45720" rIns="91440" bIns="45720" anchor="ctr">
                    <a:normAutofit fontScale="92500" lnSpcReduction="10000"/>
                  </a:bodyPr>
                  <a:lstStyle/>
                  <a:p>
                    <a:pPr algn="ctr"/>
                    <a:endParaRPr dirty="0"/>
                  </a:p>
                </p:txBody>
              </p:sp>
              <p:sp>
                <p:nvSpPr>
                  <p:cNvPr id="75" name="îsľîďé"/>
                  <p:cNvSpPr txBox="1"/>
                  <p:nvPr/>
                </p:nvSpPr>
                <p:spPr>
                  <a:xfrm>
                    <a:off x="4774993" y="2827594"/>
                    <a:ext cx="411344" cy="260533"/>
                  </a:xfrm>
                  <a:prstGeom prst="rect">
                    <a:avLst/>
                  </a:prstGeom>
                  <a:noFill/>
                </p:spPr>
                <p:txBody>
                  <a:bodyPr wrap="square" lIns="91440" tIns="45720" rIns="91440" bIns="45720">
                    <a:noAutofit/>
                  </a:bodyPr>
                  <a:lstStyle/>
                  <a:p>
                    <a:pPr algn="ctr"/>
                    <a:r>
                      <a:rPr lang="en-US" sz="1400" b="1" dirty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01</a:t>
                    </a:r>
                  </a:p>
                </p:txBody>
              </p:sp>
              <p:sp>
                <p:nvSpPr>
                  <p:cNvPr id="76" name="íSľíḑe"/>
                  <p:cNvSpPr txBox="1"/>
                  <p:nvPr/>
                </p:nvSpPr>
                <p:spPr>
                  <a:xfrm>
                    <a:off x="5964608" y="2192531"/>
                    <a:ext cx="411344" cy="260533"/>
                  </a:xfrm>
                  <a:prstGeom prst="rect">
                    <a:avLst/>
                  </a:prstGeom>
                  <a:noFill/>
                </p:spPr>
                <p:txBody>
                  <a:bodyPr wrap="square" lIns="91440" tIns="45720" rIns="91440" bIns="45720">
                    <a:noAutofit/>
                  </a:bodyPr>
                  <a:lstStyle/>
                  <a:p>
                    <a:pPr algn="ctr"/>
                    <a:r>
                      <a:rPr lang="en-US" sz="1400" b="1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02</a:t>
                    </a:r>
                  </a:p>
                </p:txBody>
              </p:sp>
              <p:sp>
                <p:nvSpPr>
                  <p:cNvPr id="77" name="iṧľidé"/>
                  <p:cNvSpPr txBox="1"/>
                  <p:nvPr/>
                </p:nvSpPr>
                <p:spPr>
                  <a:xfrm>
                    <a:off x="7188713" y="2974855"/>
                    <a:ext cx="411344" cy="260533"/>
                  </a:xfrm>
                  <a:prstGeom prst="rect">
                    <a:avLst/>
                  </a:prstGeom>
                  <a:noFill/>
                </p:spPr>
                <p:txBody>
                  <a:bodyPr wrap="square" lIns="91440" tIns="45720" rIns="91440" bIns="45720">
                    <a:noAutofit/>
                  </a:bodyPr>
                  <a:lstStyle/>
                  <a:p>
                    <a:pPr algn="ctr"/>
                    <a:r>
                      <a:rPr lang="en-US" sz="1400" b="1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03</a:t>
                    </a:r>
                  </a:p>
                </p:txBody>
              </p:sp>
              <p:sp>
                <p:nvSpPr>
                  <p:cNvPr id="78" name="ïšľiďé"/>
                  <p:cNvSpPr txBox="1"/>
                  <p:nvPr/>
                </p:nvSpPr>
                <p:spPr>
                  <a:xfrm>
                    <a:off x="7096675" y="4290998"/>
                    <a:ext cx="411344" cy="260533"/>
                  </a:xfrm>
                  <a:prstGeom prst="rect">
                    <a:avLst/>
                  </a:prstGeom>
                  <a:noFill/>
                </p:spPr>
                <p:txBody>
                  <a:bodyPr wrap="square" lIns="91440" tIns="45720" rIns="91440" bIns="45720">
                    <a:noAutofit/>
                  </a:bodyPr>
                  <a:lstStyle/>
                  <a:p>
                    <a:pPr algn="ctr"/>
                    <a:r>
                      <a:rPr lang="en-US" sz="1400" b="1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04</a:t>
                    </a:r>
                  </a:p>
                </p:txBody>
              </p:sp>
              <p:sp>
                <p:nvSpPr>
                  <p:cNvPr id="79" name="ïŝļidé"/>
                  <p:cNvSpPr txBox="1"/>
                  <p:nvPr/>
                </p:nvSpPr>
                <p:spPr>
                  <a:xfrm>
                    <a:off x="5900181" y="4972080"/>
                    <a:ext cx="411344" cy="260533"/>
                  </a:xfrm>
                  <a:prstGeom prst="rect">
                    <a:avLst/>
                  </a:prstGeom>
                  <a:noFill/>
                </p:spPr>
                <p:txBody>
                  <a:bodyPr wrap="square" lIns="91440" tIns="45720" rIns="91440" bIns="45720">
                    <a:noAutofit/>
                  </a:bodyPr>
                  <a:lstStyle/>
                  <a:p>
                    <a:pPr algn="ctr"/>
                    <a:r>
                      <a:rPr lang="en-US" sz="1400" b="1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05</a:t>
                    </a:r>
                  </a:p>
                </p:txBody>
              </p:sp>
              <p:sp>
                <p:nvSpPr>
                  <p:cNvPr id="80" name="iṩḻidé"/>
                  <p:cNvSpPr txBox="1"/>
                  <p:nvPr/>
                </p:nvSpPr>
                <p:spPr>
                  <a:xfrm>
                    <a:off x="4694483" y="4198960"/>
                    <a:ext cx="411344" cy="260533"/>
                  </a:xfrm>
                  <a:prstGeom prst="rect">
                    <a:avLst/>
                  </a:prstGeom>
                  <a:noFill/>
                </p:spPr>
                <p:txBody>
                  <a:bodyPr wrap="square" lIns="91440" tIns="45720" rIns="91440" bIns="45720">
                    <a:noAutofit/>
                  </a:bodyPr>
                  <a:lstStyle/>
                  <a:p>
                    <a:pPr algn="ctr"/>
                    <a:r>
                      <a:rPr lang="en-US" sz="1400" b="1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06</a:t>
                    </a:r>
                  </a:p>
                </p:txBody>
              </p:sp>
            </p:grpSp>
            <p:sp>
              <p:nvSpPr>
                <p:cNvPr id="57" name="ïśļiḓé"/>
                <p:cNvSpPr txBox="1"/>
                <p:nvPr/>
              </p:nvSpPr>
              <p:spPr bwMode="auto">
                <a:xfrm>
                  <a:off x="1476373" y="3253117"/>
                  <a:ext cx="2913191" cy="309958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ctr" anchorCtr="0">
                  <a:normAutofit/>
                </a:bodyPr>
                <a:lstStyle/>
                <a:p>
                  <a:pPr algn="r">
                    <a:spcBef>
                      <a:spcPct val="0"/>
                    </a:spcBef>
                  </a:pPr>
                  <a:r>
                    <a:rPr lang="zh-CN" altLang="en-US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孵化</a:t>
                  </a:r>
                </a:p>
              </p:txBody>
            </p:sp>
            <p:sp>
              <p:nvSpPr>
                <p:cNvPr id="58" name="î$lïďê"/>
                <p:cNvSpPr txBox="1"/>
                <p:nvPr/>
              </p:nvSpPr>
              <p:spPr bwMode="auto">
                <a:xfrm>
                  <a:off x="7814164" y="3687563"/>
                  <a:ext cx="2879568" cy="309958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ctr" anchorCtr="0">
                  <a:normAutofit/>
                </a:bodyPr>
                <a:lstStyle/>
                <a:p>
                  <a:pPr>
                    <a:spcBef>
                      <a:spcPct val="0"/>
                    </a:spcBef>
                  </a:pPr>
                  <a:r>
                    <a:rPr lang="zh-CN" altLang="en-US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加工</a:t>
                  </a:r>
                </a:p>
              </p:txBody>
            </p:sp>
            <p:sp>
              <p:nvSpPr>
                <p:cNvPr id="59" name="isḻîḋe"/>
                <p:cNvSpPr txBox="1"/>
                <p:nvPr/>
              </p:nvSpPr>
              <p:spPr bwMode="auto">
                <a:xfrm>
                  <a:off x="6832733" y="5306736"/>
                  <a:ext cx="2879568" cy="309958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ctr" anchorCtr="0">
                  <a:normAutofit/>
                </a:bodyPr>
                <a:lstStyle/>
                <a:p>
                  <a:pPr>
                    <a:spcBef>
                      <a:spcPct val="0"/>
                    </a:spcBef>
                  </a:pPr>
                  <a:r>
                    <a:rPr lang="zh-CN" altLang="en-US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国际国内贸易</a:t>
                  </a:r>
                </a:p>
              </p:txBody>
            </p:sp>
            <p:sp>
              <p:nvSpPr>
                <p:cNvPr id="60" name="iṣ1ïdè"/>
                <p:cNvSpPr txBox="1"/>
                <p:nvPr/>
              </p:nvSpPr>
              <p:spPr bwMode="auto">
                <a:xfrm>
                  <a:off x="2015301" y="5027447"/>
                  <a:ext cx="2913191" cy="309958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ctr" anchorCtr="0">
                  <a:normAutofit/>
                </a:bodyPr>
                <a:lstStyle/>
                <a:p>
                  <a:pPr algn="r">
                    <a:spcBef>
                      <a:spcPct val="0"/>
                    </a:spcBef>
                  </a:pPr>
                  <a:r>
                    <a:rPr lang="zh-CN" altLang="en-US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研发</a:t>
                  </a:r>
                </a:p>
              </p:txBody>
            </p:sp>
            <p:sp>
              <p:nvSpPr>
                <p:cNvPr id="61" name="í$ļiḑé"/>
                <p:cNvSpPr txBox="1"/>
                <p:nvPr/>
              </p:nvSpPr>
              <p:spPr bwMode="auto">
                <a:xfrm>
                  <a:off x="7449875" y="2261150"/>
                  <a:ext cx="2879568" cy="309958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ctr" anchorCtr="0">
                  <a:normAutofit/>
                </a:bodyPr>
                <a:lstStyle/>
                <a:p>
                  <a:pPr>
                    <a:spcBef>
                      <a:spcPct val="0"/>
                    </a:spcBef>
                  </a:pPr>
                  <a:r>
                    <a:rPr lang="zh-CN" altLang="en-US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养殖</a:t>
                  </a:r>
                </a:p>
              </p:txBody>
            </p:sp>
            <p:sp>
              <p:nvSpPr>
                <p:cNvPr id="62" name="îṩľidê"/>
                <p:cNvSpPr txBox="1"/>
                <p:nvPr/>
              </p:nvSpPr>
              <p:spPr bwMode="auto">
                <a:xfrm>
                  <a:off x="2986504" y="1780412"/>
                  <a:ext cx="2913191" cy="309958"/>
                </a:xfrm>
                <a:prstGeom prst="rect">
                  <a:avLst/>
                </a:prstGeom>
                <a:noFill/>
              </p:spPr>
              <p:txBody>
                <a:bodyPr wrap="square" lIns="91440" tIns="45720" rIns="91440" bIns="45720" anchor="ctr" anchorCtr="0">
                  <a:normAutofit/>
                </a:bodyPr>
                <a:lstStyle/>
                <a:p>
                  <a:pPr algn="r">
                    <a:spcBef>
                      <a:spcPct val="0"/>
                    </a:spcBef>
                  </a:pPr>
                  <a:r>
                    <a:rPr lang="zh-CN" altLang="en-US" sz="1400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育苗</a:t>
                  </a:r>
                </a:p>
              </p:txBody>
            </p:sp>
          </p:grpSp>
          <p:sp>
            <p:nvSpPr>
              <p:cNvPr id="44" name="lobster_166032"/>
              <p:cNvSpPr>
                <a:spLocks noChangeAspect="1"/>
              </p:cNvSpPr>
              <p:nvPr/>
            </p:nvSpPr>
            <p:spPr bwMode="auto">
              <a:xfrm>
                <a:off x="2395249" y="3545395"/>
                <a:ext cx="378640" cy="428822"/>
              </a:xfrm>
              <a:custGeom>
                <a:avLst/>
                <a:gdLst>
                  <a:gd name="T0" fmla="*/ 4800 w 4800"/>
                  <a:gd name="T1" fmla="*/ 1067 h 5444"/>
                  <a:gd name="T2" fmla="*/ 4000 w 4800"/>
                  <a:gd name="T3" fmla="*/ 1156 h 5444"/>
                  <a:gd name="T4" fmla="*/ 3334 w 4800"/>
                  <a:gd name="T5" fmla="*/ 1956 h 5444"/>
                  <a:gd name="T6" fmla="*/ 2717 w 4800"/>
                  <a:gd name="T7" fmla="*/ 975 h 5444"/>
                  <a:gd name="T8" fmla="*/ 3067 w 4800"/>
                  <a:gd name="T9" fmla="*/ 267 h 5444"/>
                  <a:gd name="T10" fmla="*/ 2534 w 4800"/>
                  <a:gd name="T11" fmla="*/ 267 h 5444"/>
                  <a:gd name="T12" fmla="*/ 2532 w 4800"/>
                  <a:gd name="T13" fmla="*/ 782 h 5444"/>
                  <a:gd name="T14" fmla="*/ 2269 w 4800"/>
                  <a:gd name="T15" fmla="*/ 782 h 5444"/>
                  <a:gd name="T16" fmla="*/ 2267 w 4800"/>
                  <a:gd name="T17" fmla="*/ 267 h 5444"/>
                  <a:gd name="T18" fmla="*/ 1734 w 4800"/>
                  <a:gd name="T19" fmla="*/ 267 h 5444"/>
                  <a:gd name="T20" fmla="*/ 2083 w 4800"/>
                  <a:gd name="T21" fmla="*/ 975 h 5444"/>
                  <a:gd name="T22" fmla="*/ 1467 w 4800"/>
                  <a:gd name="T23" fmla="*/ 1956 h 5444"/>
                  <a:gd name="T24" fmla="*/ 800 w 4800"/>
                  <a:gd name="T25" fmla="*/ 1156 h 5444"/>
                  <a:gd name="T26" fmla="*/ 0 w 4800"/>
                  <a:gd name="T27" fmla="*/ 1067 h 5444"/>
                  <a:gd name="T28" fmla="*/ 1600 w 4800"/>
                  <a:gd name="T29" fmla="*/ 2686 h 5444"/>
                  <a:gd name="T30" fmla="*/ 1600 w 4800"/>
                  <a:gd name="T31" fmla="*/ 2889 h 5444"/>
                  <a:gd name="T32" fmla="*/ 987 w 4800"/>
                  <a:gd name="T33" fmla="*/ 2556 h 5444"/>
                  <a:gd name="T34" fmla="*/ 1320 w 4800"/>
                  <a:gd name="T35" fmla="*/ 3156 h 5444"/>
                  <a:gd name="T36" fmla="*/ 1600 w 4800"/>
                  <a:gd name="T37" fmla="*/ 3356 h 5444"/>
                  <a:gd name="T38" fmla="*/ 720 w 4800"/>
                  <a:gd name="T39" fmla="*/ 3956 h 5444"/>
                  <a:gd name="T40" fmla="*/ 1320 w 4800"/>
                  <a:gd name="T41" fmla="*/ 3622 h 5444"/>
                  <a:gd name="T42" fmla="*/ 1713 w 4800"/>
                  <a:gd name="T43" fmla="*/ 3900 h 5444"/>
                  <a:gd name="T44" fmla="*/ 1778 w 4800"/>
                  <a:gd name="T45" fmla="*/ 4511 h 5444"/>
                  <a:gd name="T46" fmla="*/ 2400 w 4800"/>
                  <a:gd name="T47" fmla="*/ 5444 h 5444"/>
                  <a:gd name="T48" fmla="*/ 3022 w 4800"/>
                  <a:gd name="T49" fmla="*/ 4511 h 5444"/>
                  <a:gd name="T50" fmla="*/ 3088 w 4800"/>
                  <a:gd name="T51" fmla="*/ 3900 h 5444"/>
                  <a:gd name="T52" fmla="*/ 3480 w 4800"/>
                  <a:gd name="T53" fmla="*/ 3622 h 5444"/>
                  <a:gd name="T54" fmla="*/ 4080 w 4800"/>
                  <a:gd name="T55" fmla="*/ 3956 h 5444"/>
                  <a:gd name="T56" fmla="*/ 3200 w 4800"/>
                  <a:gd name="T57" fmla="*/ 3356 h 5444"/>
                  <a:gd name="T58" fmla="*/ 3480 w 4800"/>
                  <a:gd name="T59" fmla="*/ 3156 h 5444"/>
                  <a:gd name="T60" fmla="*/ 3814 w 4800"/>
                  <a:gd name="T61" fmla="*/ 2556 h 5444"/>
                  <a:gd name="T62" fmla="*/ 3200 w 4800"/>
                  <a:gd name="T63" fmla="*/ 2889 h 5444"/>
                  <a:gd name="T64" fmla="*/ 3200 w 4800"/>
                  <a:gd name="T65" fmla="*/ 2686 h 5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00" h="5444">
                    <a:moveTo>
                      <a:pt x="3825" y="2198"/>
                    </a:moveTo>
                    <a:cubicBezTo>
                      <a:pt x="4383" y="2079"/>
                      <a:pt x="4800" y="1538"/>
                      <a:pt x="4800" y="1067"/>
                    </a:cubicBezTo>
                    <a:cubicBezTo>
                      <a:pt x="4800" y="133"/>
                      <a:pt x="4267" y="0"/>
                      <a:pt x="4267" y="0"/>
                    </a:cubicBezTo>
                    <a:cubicBezTo>
                      <a:pt x="4267" y="956"/>
                      <a:pt x="4011" y="1142"/>
                      <a:pt x="4000" y="1156"/>
                    </a:cubicBezTo>
                    <a:lnTo>
                      <a:pt x="4000" y="400"/>
                    </a:lnTo>
                    <a:cubicBezTo>
                      <a:pt x="3334" y="533"/>
                      <a:pt x="3334" y="1689"/>
                      <a:pt x="3334" y="1956"/>
                    </a:cubicBezTo>
                    <a:cubicBezTo>
                      <a:pt x="3334" y="2054"/>
                      <a:pt x="3261" y="2137"/>
                      <a:pt x="3167" y="2153"/>
                    </a:cubicBezTo>
                    <a:cubicBezTo>
                      <a:pt x="3090" y="1564"/>
                      <a:pt x="2893" y="1195"/>
                      <a:pt x="2717" y="975"/>
                    </a:cubicBezTo>
                    <a:cubicBezTo>
                      <a:pt x="2794" y="891"/>
                      <a:pt x="2884" y="745"/>
                      <a:pt x="2919" y="505"/>
                    </a:cubicBezTo>
                    <a:cubicBezTo>
                      <a:pt x="3006" y="462"/>
                      <a:pt x="3067" y="371"/>
                      <a:pt x="3067" y="267"/>
                    </a:cubicBezTo>
                    <a:cubicBezTo>
                      <a:pt x="3067" y="119"/>
                      <a:pt x="2947" y="0"/>
                      <a:pt x="2800" y="0"/>
                    </a:cubicBezTo>
                    <a:cubicBezTo>
                      <a:pt x="2653" y="0"/>
                      <a:pt x="2534" y="119"/>
                      <a:pt x="2534" y="267"/>
                    </a:cubicBezTo>
                    <a:cubicBezTo>
                      <a:pt x="2534" y="359"/>
                      <a:pt x="2580" y="440"/>
                      <a:pt x="2651" y="488"/>
                    </a:cubicBezTo>
                    <a:cubicBezTo>
                      <a:pt x="2626" y="640"/>
                      <a:pt x="2573" y="731"/>
                      <a:pt x="2532" y="782"/>
                    </a:cubicBezTo>
                    <a:cubicBezTo>
                      <a:pt x="2453" y="715"/>
                      <a:pt x="2400" y="689"/>
                      <a:pt x="2400" y="689"/>
                    </a:cubicBezTo>
                    <a:cubicBezTo>
                      <a:pt x="2400" y="689"/>
                      <a:pt x="2347" y="715"/>
                      <a:pt x="2269" y="782"/>
                    </a:cubicBezTo>
                    <a:cubicBezTo>
                      <a:pt x="2227" y="731"/>
                      <a:pt x="2175" y="640"/>
                      <a:pt x="2149" y="488"/>
                    </a:cubicBezTo>
                    <a:cubicBezTo>
                      <a:pt x="2220" y="440"/>
                      <a:pt x="2267" y="359"/>
                      <a:pt x="2267" y="267"/>
                    </a:cubicBezTo>
                    <a:cubicBezTo>
                      <a:pt x="2267" y="119"/>
                      <a:pt x="2147" y="0"/>
                      <a:pt x="2000" y="0"/>
                    </a:cubicBezTo>
                    <a:cubicBezTo>
                      <a:pt x="1853" y="0"/>
                      <a:pt x="1734" y="119"/>
                      <a:pt x="1734" y="267"/>
                    </a:cubicBezTo>
                    <a:cubicBezTo>
                      <a:pt x="1734" y="371"/>
                      <a:pt x="1794" y="462"/>
                      <a:pt x="1882" y="505"/>
                    </a:cubicBezTo>
                    <a:cubicBezTo>
                      <a:pt x="1917" y="745"/>
                      <a:pt x="2006" y="891"/>
                      <a:pt x="2083" y="975"/>
                    </a:cubicBezTo>
                    <a:cubicBezTo>
                      <a:pt x="1908" y="1195"/>
                      <a:pt x="1710" y="1564"/>
                      <a:pt x="1633" y="2153"/>
                    </a:cubicBezTo>
                    <a:cubicBezTo>
                      <a:pt x="1539" y="2137"/>
                      <a:pt x="1467" y="2054"/>
                      <a:pt x="1467" y="1956"/>
                    </a:cubicBezTo>
                    <a:cubicBezTo>
                      <a:pt x="1467" y="1689"/>
                      <a:pt x="1467" y="533"/>
                      <a:pt x="800" y="400"/>
                    </a:cubicBezTo>
                    <a:lnTo>
                      <a:pt x="800" y="1156"/>
                    </a:lnTo>
                    <a:cubicBezTo>
                      <a:pt x="790" y="1142"/>
                      <a:pt x="534" y="956"/>
                      <a:pt x="534" y="0"/>
                    </a:cubicBezTo>
                    <a:cubicBezTo>
                      <a:pt x="534" y="0"/>
                      <a:pt x="0" y="133"/>
                      <a:pt x="0" y="1067"/>
                    </a:cubicBezTo>
                    <a:cubicBezTo>
                      <a:pt x="0" y="1538"/>
                      <a:pt x="417" y="2079"/>
                      <a:pt x="975" y="2198"/>
                    </a:cubicBezTo>
                    <a:cubicBezTo>
                      <a:pt x="1068" y="2464"/>
                      <a:pt x="1310" y="2659"/>
                      <a:pt x="1600" y="2686"/>
                    </a:cubicBezTo>
                    <a:cubicBezTo>
                      <a:pt x="1600" y="2687"/>
                      <a:pt x="1600" y="2688"/>
                      <a:pt x="1600" y="2689"/>
                    </a:cubicBezTo>
                    <a:lnTo>
                      <a:pt x="1600" y="2889"/>
                    </a:lnTo>
                    <a:lnTo>
                      <a:pt x="1320" y="2889"/>
                    </a:lnTo>
                    <a:cubicBezTo>
                      <a:pt x="1136" y="2889"/>
                      <a:pt x="987" y="2739"/>
                      <a:pt x="987" y="2556"/>
                    </a:cubicBezTo>
                    <a:lnTo>
                      <a:pt x="720" y="2556"/>
                    </a:lnTo>
                    <a:cubicBezTo>
                      <a:pt x="720" y="2886"/>
                      <a:pt x="989" y="3156"/>
                      <a:pt x="1320" y="3156"/>
                    </a:cubicBezTo>
                    <a:lnTo>
                      <a:pt x="1600" y="3156"/>
                    </a:lnTo>
                    <a:lnTo>
                      <a:pt x="1600" y="3356"/>
                    </a:lnTo>
                    <a:lnTo>
                      <a:pt x="1320" y="3356"/>
                    </a:lnTo>
                    <a:cubicBezTo>
                      <a:pt x="989" y="3356"/>
                      <a:pt x="720" y="3625"/>
                      <a:pt x="720" y="3956"/>
                    </a:cubicBezTo>
                    <a:lnTo>
                      <a:pt x="987" y="3956"/>
                    </a:lnTo>
                    <a:cubicBezTo>
                      <a:pt x="987" y="3772"/>
                      <a:pt x="1136" y="3622"/>
                      <a:pt x="1320" y="3622"/>
                    </a:cubicBezTo>
                    <a:lnTo>
                      <a:pt x="1600" y="3622"/>
                    </a:lnTo>
                    <a:cubicBezTo>
                      <a:pt x="1600" y="3730"/>
                      <a:pt x="1643" y="3828"/>
                      <a:pt x="1713" y="3900"/>
                    </a:cubicBezTo>
                    <a:cubicBezTo>
                      <a:pt x="1643" y="3972"/>
                      <a:pt x="1600" y="4070"/>
                      <a:pt x="1600" y="4178"/>
                    </a:cubicBezTo>
                    <a:cubicBezTo>
                      <a:pt x="1600" y="4317"/>
                      <a:pt x="1671" y="4439"/>
                      <a:pt x="1778" y="4511"/>
                    </a:cubicBezTo>
                    <a:lnTo>
                      <a:pt x="1467" y="5133"/>
                    </a:lnTo>
                    <a:cubicBezTo>
                      <a:pt x="1467" y="5133"/>
                      <a:pt x="1723" y="5444"/>
                      <a:pt x="2400" y="5444"/>
                    </a:cubicBezTo>
                    <a:cubicBezTo>
                      <a:pt x="3077" y="5444"/>
                      <a:pt x="3334" y="5133"/>
                      <a:pt x="3334" y="5133"/>
                    </a:cubicBezTo>
                    <a:lnTo>
                      <a:pt x="3022" y="4511"/>
                    </a:lnTo>
                    <a:cubicBezTo>
                      <a:pt x="3130" y="4439"/>
                      <a:pt x="3200" y="4317"/>
                      <a:pt x="3200" y="4178"/>
                    </a:cubicBezTo>
                    <a:cubicBezTo>
                      <a:pt x="3200" y="4070"/>
                      <a:pt x="3157" y="3972"/>
                      <a:pt x="3088" y="3900"/>
                    </a:cubicBezTo>
                    <a:cubicBezTo>
                      <a:pt x="3157" y="3828"/>
                      <a:pt x="3200" y="3730"/>
                      <a:pt x="3200" y="3622"/>
                    </a:cubicBezTo>
                    <a:lnTo>
                      <a:pt x="3480" y="3622"/>
                    </a:lnTo>
                    <a:cubicBezTo>
                      <a:pt x="3664" y="3622"/>
                      <a:pt x="3814" y="3772"/>
                      <a:pt x="3814" y="3956"/>
                    </a:cubicBezTo>
                    <a:lnTo>
                      <a:pt x="4080" y="3956"/>
                    </a:lnTo>
                    <a:cubicBezTo>
                      <a:pt x="4080" y="3625"/>
                      <a:pt x="3811" y="3356"/>
                      <a:pt x="3480" y="3356"/>
                    </a:cubicBezTo>
                    <a:lnTo>
                      <a:pt x="3200" y="3356"/>
                    </a:lnTo>
                    <a:lnTo>
                      <a:pt x="3200" y="3156"/>
                    </a:lnTo>
                    <a:lnTo>
                      <a:pt x="3480" y="3156"/>
                    </a:lnTo>
                    <a:cubicBezTo>
                      <a:pt x="3811" y="3156"/>
                      <a:pt x="4080" y="2886"/>
                      <a:pt x="4080" y="2556"/>
                    </a:cubicBezTo>
                    <a:lnTo>
                      <a:pt x="3814" y="2556"/>
                    </a:lnTo>
                    <a:cubicBezTo>
                      <a:pt x="3814" y="2739"/>
                      <a:pt x="3664" y="2889"/>
                      <a:pt x="3480" y="2889"/>
                    </a:cubicBezTo>
                    <a:lnTo>
                      <a:pt x="3200" y="2889"/>
                    </a:lnTo>
                    <a:lnTo>
                      <a:pt x="3200" y="2689"/>
                    </a:lnTo>
                    <a:cubicBezTo>
                      <a:pt x="3200" y="2688"/>
                      <a:pt x="3200" y="2687"/>
                      <a:pt x="3200" y="2686"/>
                    </a:cubicBezTo>
                    <a:cubicBezTo>
                      <a:pt x="3490" y="2659"/>
                      <a:pt x="3732" y="2464"/>
                      <a:pt x="3825" y="219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</p:sp>
          <p:sp>
            <p:nvSpPr>
              <p:cNvPr id="45" name="prawn_310599"/>
              <p:cNvSpPr>
                <a:spLocks noChangeAspect="1"/>
              </p:cNvSpPr>
              <p:nvPr/>
            </p:nvSpPr>
            <p:spPr bwMode="auto">
              <a:xfrm>
                <a:off x="2767528" y="2880883"/>
                <a:ext cx="492554" cy="385760"/>
              </a:xfrm>
              <a:custGeom>
                <a:avLst/>
                <a:gdLst>
                  <a:gd name="connsiteX0" fmla="*/ 350640 w 607639"/>
                  <a:gd name="connsiteY0" fmla="*/ 321990 h 475893"/>
                  <a:gd name="connsiteX1" fmla="*/ 350640 w 607639"/>
                  <a:gd name="connsiteY1" fmla="*/ 475893 h 475893"/>
                  <a:gd name="connsiteX2" fmla="*/ 253391 w 607639"/>
                  <a:gd name="connsiteY2" fmla="*/ 475893 h 475893"/>
                  <a:gd name="connsiteX3" fmla="*/ 233995 w 607639"/>
                  <a:gd name="connsiteY3" fmla="*/ 456522 h 475893"/>
                  <a:gd name="connsiteX4" fmla="*/ 350640 w 607639"/>
                  <a:gd name="connsiteY4" fmla="*/ 321990 h 475893"/>
                  <a:gd name="connsiteX5" fmla="*/ 422655 w 607639"/>
                  <a:gd name="connsiteY5" fmla="*/ 257281 h 475893"/>
                  <a:gd name="connsiteX6" fmla="*/ 607639 w 607639"/>
                  <a:gd name="connsiteY6" fmla="*/ 257281 h 475893"/>
                  <a:gd name="connsiteX7" fmla="*/ 389451 w 607639"/>
                  <a:gd name="connsiteY7" fmla="*/ 475116 h 475893"/>
                  <a:gd name="connsiteX8" fmla="*/ 389451 w 607639"/>
                  <a:gd name="connsiteY8" fmla="*/ 317006 h 475893"/>
                  <a:gd name="connsiteX9" fmla="*/ 422655 w 607639"/>
                  <a:gd name="connsiteY9" fmla="*/ 257281 h 475893"/>
                  <a:gd name="connsiteX10" fmla="*/ 249275 w 607639"/>
                  <a:gd name="connsiteY10" fmla="*/ 81143 h 475893"/>
                  <a:gd name="connsiteX11" fmla="*/ 223555 w 607639"/>
                  <a:gd name="connsiteY11" fmla="*/ 106827 h 475893"/>
                  <a:gd name="connsiteX12" fmla="*/ 249275 w 607639"/>
                  <a:gd name="connsiteY12" fmla="*/ 132512 h 475893"/>
                  <a:gd name="connsiteX13" fmla="*/ 274905 w 607639"/>
                  <a:gd name="connsiteY13" fmla="*/ 106827 h 475893"/>
                  <a:gd name="connsiteX14" fmla="*/ 249275 w 607639"/>
                  <a:gd name="connsiteY14" fmla="*/ 81143 h 475893"/>
                  <a:gd name="connsiteX15" fmla="*/ 389451 w 607639"/>
                  <a:gd name="connsiteY15" fmla="*/ 706 h 475893"/>
                  <a:gd name="connsiteX16" fmla="*/ 607639 w 607639"/>
                  <a:gd name="connsiteY16" fmla="*/ 218541 h 475893"/>
                  <a:gd name="connsiteX17" fmla="*/ 392300 w 607639"/>
                  <a:gd name="connsiteY17" fmla="*/ 218541 h 475893"/>
                  <a:gd name="connsiteX18" fmla="*/ 389451 w 607639"/>
                  <a:gd name="connsiteY18" fmla="*/ 217386 h 475893"/>
                  <a:gd name="connsiteX19" fmla="*/ 19401 w 607639"/>
                  <a:gd name="connsiteY19" fmla="*/ 0 h 475893"/>
                  <a:gd name="connsiteX20" fmla="*/ 164374 w 607639"/>
                  <a:gd name="connsiteY20" fmla="*/ 0 h 475893"/>
                  <a:gd name="connsiteX21" fmla="*/ 164463 w 607639"/>
                  <a:gd name="connsiteY21" fmla="*/ 0 h 475893"/>
                  <a:gd name="connsiteX22" fmla="*/ 350640 w 607639"/>
                  <a:gd name="connsiteY22" fmla="*/ 0 h 475893"/>
                  <a:gd name="connsiteX23" fmla="*/ 350640 w 607639"/>
                  <a:gd name="connsiteY23" fmla="*/ 213743 h 475893"/>
                  <a:gd name="connsiteX24" fmla="*/ 176922 w 607639"/>
                  <a:gd name="connsiteY24" fmla="*/ 126202 h 475893"/>
                  <a:gd name="connsiteX25" fmla="*/ 76091 w 607639"/>
                  <a:gd name="connsiteY25" fmla="*/ 126202 h 475893"/>
                  <a:gd name="connsiteX26" fmla="*/ 56690 w 607639"/>
                  <a:gd name="connsiteY26" fmla="*/ 106827 h 475893"/>
                  <a:gd name="connsiteX27" fmla="*/ 76091 w 607639"/>
                  <a:gd name="connsiteY27" fmla="*/ 87453 h 475893"/>
                  <a:gd name="connsiteX28" fmla="*/ 157254 w 607639"/>
                  <a:gd name="connsiteY28" fmla="*/ 87453 h 475893"/>
                  <a:gd name="connsiteX29" fmla="*/ 146041 w 607639"/>
                  <a:gd name="connsiteY29" fmla="*/ 38749 h 475893"/>
                  <a:gd name="connsiteX30" fmla="*/ 19401 w 607639"/>
                  <a:gd name="connsiteY30" fmla="*/ 38749 h 475893"/>
                  <a:gd name="connsiteX31" fmla="*/ 0 w 607639"/>
                  <a:gd name="connsiteY31" fmla="*/ 19375 h 475893"/>
                  <a:gd name="connsiteX32" fmla="*/ 19401 w 607639"/>
                  <a:gd name="connsiteY32" fmla="*/ 0 h 4758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607639" h="475893">
                    <a:moveTo>
                      <a:pt x="350640" y="321990"/>
                    </a:moveTo>
                    <a:lnTo>
                      <a:pt x="350640" y="475893"/>
                    </a:lnTo>
                    <a:lnTo>
                      <a:pt x="253391" y="475893"/>
                    </a:lnTo>
                    <a:cubicBezTo>
                      <a:pt x="242626" y="475893"/>
                      <a:pt x="233995" y="467185"/>
                      <a:pt x="233995" y="456522"/>
                    </a:cubicBezTo>
                    <a:cubicBezTo>
                      <a:pt x="233995" y="387568"/>
                      <a:pt x="285155" y="331320"/>
                      <a:pt x="350640" y="321990"/>
                    </a:cubicBezTo>
                    <a:close/>
                    <a:moveTo>
                      <a:pt x="422655" y="257281"/>
                    </a:moveTo>
                    <a:lnTo>
                      <a:pt x="607639" y="257281"/>
                    </a:lnTo>
                    <a:cubicBezTo>
                      <a:pt x="598203" y="373087"/>
                      <a:pt x="505444" y="465784"/>
                      <a:pt x="389451" y="475116"/>
                    </a:cubicBezTo>
                    <a:lnTo>
                      <a:pt x="389451" y="317006"/>
                    </a:lnTo>
                    <a:cubicBezTo>
                      <a:pt x="413041" y="307852"/>
                      <a:pt x="427463" y="283055"/>
                      <a:pt x="422655" y="257281"/>
                    </a:cubicBezTo>
                    <a:close/>
                    <a:moveTo>
                      <a:pt x="249275" y="81143"/>
                    </a:moveTo>
                    <a:cubicBezTo>
                      <a:pt x="235036" y="81143"/>
                      <a:pt x="223555" y="92696"/>
                      <a:pt x="223555" y="106827"/>
                    </a:cubicBezTo>
                    <a:cubicBezTo>
                      <a:pt x="223555" y="120958"/>
                      <a:pt x="235036" y="132512"/>
                      <a:pt x="249275" y="132512"/>
                    </a:cubicBezTo>
                    <a:cubicBezTo>
                      <a:pt x="263425" y="132512"/>
                      <a:pt x="274905" y="120958"/>
                      <a:pt x="274905" y="106827"/>
                    </a:cubicBezTo>
                    <a:cubicBezTo>
                      <a:pt x="274905" y="92696"/>
                      <a:pt x="263425" y="81143"/>
                      <a:pt x="249275" y="81143"/>
                    </a:cubicBezTo>
                    <a:close/>
                    <a:moveTo>
                      <a:pt x="389451" y="706"/>
                    </a:moveTo>
                    <a:cubicBezTo>
                      <a:pt x="505444" y="10127"/>
                      <a:pt x="598203" y="102736"/>
                      <a:pt x="607639" y="218541"/>
                    </a:cubicBezTo>
                    <a:lnTo>
                      <a:pt x="392300" y="218541"/>
                    </a:lnTo>
                    <a:cubicBezTo>
                      <a:pt x="391320" y="218097"/>
                      <a:pt x="390430" y="217741"/>
                      <a:pt x="389451" y="217386"/>
                    </a:cubicBezTo>
                    <a:close/>
                    <a:moveTo>
                      <a:pt x="19401" y="0"/>
                    </a:moveTo>
                    <a:lnTo>
                      <a:pt x="164374" y="0"/>
                    </a:lnTo>
                    <a:cubicBezTo>
                      <a:pt x="164374" y="0"/>
                      <a:pt x="164374" y="0"/>
                      <a:pt x="164463" y="0"/>
                    </a:cubicBezTo>
                    <a:lnTo>
                      <a:pt x="350640" y="0"/>
                    </a:lnTo>
                    <a:lnTo>
                      <a:pt x="350640" y="213743"/>
                    </a:lnTo>
                    <a:cubicBezTo>
                      <a:pt x="270100" y="213743"/>
                      <a:pt x="210562" y="177394"/>
                      <a:pt x="176922" y="126202"/>
                    </a:cubicBezTo>
                    <a:lnTo>
                      <a:pt x="76091" y="126202"/>
                    </a:lnTo>
                    <a:cubicBezTo>
                      <a:pt x="65322" y="126202"/>
                      <a:pt x="56690" y="117581"/>
                      <a:pt x="56690" y="106827"/>
                    </a:cubicBezTo>
                    <a:cubicBezTo>
                      <a:pt x="56690" y="96162"/>
                      <a:pt x="65322" y="87453"/>
                      <a:pt x="76091" y="87453"/>
                    </a:cubicBezTo>
                    <a:lnTo>
                      <a:pt x="157254" y="87453"/>
                    </a:lnTo>
                    <a:cubicBezTo>
                      <a:pt x="151469" y="71811"/>
                      <a:pt x="147643" y="55369"/>
                      <a:pt x="146041" y="38749"/>
                    </a:cubicBezTo>
                    <a:lnTo>
                      <a:pt x="19401" y="38749"/>
                    </a:lnTo>
                    <a:cubicBezTo>
                      <a:pt x="8722" y="38749"/>
                      <a:pt x="0" y="30040"/>
                      <a:pt x="0" y="19375"/>
                    </a:cubicBezTo>
                    <a:cubicBezTo>
                      <a:pt x="0" y="8621"/>
                      <a:pt x="8722" y="0"/>
                      <a:pt x="1940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</p:sp>
          <p:sp>
            <p:nvSpPr>
              <p:cNvPr id="46" name="fish-black-grouper-side-view_47373"/>
              <p:cNvSpPr>
                <a:spLocks noChangeAspect="1"/>
              </p:cNvSpPr>
              <p:nvPr/>
            </p:nvSpPr>
            <p:spPr bwMode="auto">
              <a:xfrm>
                <a:off x="3221838" y="3642877"/>
                <a:ext cx="632971" cy="299604"/>
              </a:xfrm>
              <a:custGeom>
                <a:avLst/>
                <a:gdLst>
                  <a:gd name="T0" fmla="*/ 7529 w 7575"/>
                  <a:gd name="T1" fmla="*/ 1961 h 3591"/>
                  <a:gd name="T2" fmla="*/ 7143 w 7575"/>
                  <a:gd name="T3" fmla="*/ 2058 h 3591"/>
                  <a:gd name="T4" fmla="*/ 7114 w 7575"/>
                  <a:gd name="T5" fmla="*/ 2022 h 3591"/>
                  <a:gd name="T6" fmla="*/ 7303 w 7575"/>
                  <a:gd name="T7" fmla="*/ 1637 h 3591"/>
                  <a:gd name="T8" fmla="*/ 7282 w 7575"/>
                  <a:gd name="T9" fmla="*/ 1557 h 3591"/>
                  <a:gd name="T10" fmla="*/ 6818 w 7575"/>
                  <a:gd name="T11" fmla="*/ 1250 h 3591"/>
                  <a:gd name="T12" fmla="*/ 5649 w 7575"/>
                  <a:gd name="T13" fmla="*/ 795 h 3591"/>
                  <a:gd name="T14" fmla="*/ 5416 w 7575"/>
                  <a:gd name="T15" fmla="*/ 610 h 3591"/>
                  <a:gd name="T16" fmla="*/ 4760 w 7575"/>
                  <a:gd name="T17" fmla="*/ 32 h 3591"/>
                  <a:gd name="T18" fmla="*/ 4419 w 7575"/>
                  <a:gd name="T19" fmla="*/ 68 h 3591"/>
                  <a:gd name="T20" fmla="*/ 3108 w 7575"/>
                  <a:gd name="T21" fmla="*/ 606 h 3591"/>
                  <a:gd name="T22" fmla="*/ 2372 w 7575"/>
                  <a:gd name="T23" fmla="*/ 798 h 3591"/>
                  <a:gd name="T24" fmla="*/ 2190 w 7575"/>
                  <a:gd name="T25" fmla="*/ 856 h 3591"/>
                  <a:gd name="T26" fmla="*/ 2028 w 7575"/>
                  <a:gd name="T27" fmla="*/ 1136 h 3591"/>
                  <a:gd name="T28" fmla="*/ 2161 w 7575"/>
                  <a:gd name="T29" fmla="*/ 1297 h 3591"/>
                  <a:gd name="T30" fmla="*/ 2152 w 7575"/>
                  <a:gd name="T31" fmla="*/ 1359 h 3591"/>
                  <a:gd name="T32" fmla="*/ 1284 w 7575"/>
                  <a:gd name="T33" fmla="*/ 1227 h 3591"/>
                  <a:gd name="T34" fmla="*/ 539 w 7575"/>
                  <a:gd name="T35" fmla="*/ 619 h 3591"/>
                  <a:gd name="T36" fmla="*/ 79 w 7575"/>
                  <a:gd name="T37" fmla="*/ 364 h 3591"/>
                  <a:gd name="T38" fmla="*/ 58 w 7575"/>
                  <a:gd name="T39" fmla="*/ 388 h 3591"/>
                  <a:gd name="T40" fmla="*/ 17 w 7575"/>
                  <a:gd name="T41" fmla="*/ 2793 h 3591"/>
                  <a:gd name="T42" fmla="*/ 36 w 7575"/>
                  <a:gd name="T43" fmla="*/ 2816 h 3591"/>
                  <a:gd name="T44" fmla="*/ 571 w 7575"/>
                  <a:gd name="T45" fmla="*/ 2578 h 3591"/>
                  <a:gd name="T46" fmla="*/ 1182 w 7575"/>
                  <a:gd name="T47" fmla="*/ 2207 h 3591"/>
                  <a:gd name="T48" fmla="*/ 2213 w 7575"/>
                  <a:gd name="T49" fmla="*/ 2123 h 3591"/>
                  <a:gd name="T50" fmla="*/ 2248 w 7575"/>
                  <a:gd name="T51" fmla="*/ 2194 h 3591"/>
                  <a:gd name="T52" fmla="*/ 2190 w 7575"/>
                  <a:gd name="T53" fmla="*/ 2461 h 3591"/>
                  <a:gd name="T54" fmla="*/ 2804 w 7575"/>
                  <a:gd name="T55" fmla="*/ 2777 h 3591"/>
                  <a:gd name="T56" fmla="*/ 3339 w 7575"/>
                  <a:gd name="T57" fmla="*/ 2591 h 3591"/>
                  <a:gd name="T58" fmla="*/ 3549 w 7575"/>
                  <a:gd name="T59" fmla="*/ 2581 h 3591"/>
                  <a:gd name="T60" fmla="*/ 5144 w 7575"/>
                  <a:gd name="T61" fmla="*/ 2788 h 3591"/>
                  <a:gd name="T62" fmla="*/ 5164 w 7575"/>
                  <a:gd name="T63" fmla="*/ 2798 h 3591"/>
                  <a:gd name="T64" fmla="*/ 5156 w 7575"/>
                  <a:gd name="T65" fmla="*/ 2860 h 3591"/>
                  <a:gd name="T66" fmla="*/ 5233 w 7575"/>
                  <a:gd name="T67" fmla="*/ 3556 h 3591"/>
                  <a:gd name="T68" fmla="*/ 5318 w 7575"/>
                  <a:gd name="T69" fmla="*/ 3579 h 3591"/>
                  <a:gd name="T70" fmla="*/ 5650 w 7575"/>
                  <a:gd name="T71" fmla="*/ 2794 h 3591"/>
                  <a:gd name="T72" fmla="*/ 5725 w 7575"/>
                  <a:gd name="T73" fmla="*/ 2732 h 3591"/>
                  <a:gd name="T74" fmla="*/ 7528 w 7575"/>
                  <a:gd name="T75" fmla="*/ 2118 h 3591"/>
                  <a:gd name="T76" fmla="*/ 7568 w 7575"/>
                  <a:gd name="T77" fmla="*/ 2001 h 3591"/>
                  <a:gd name="T78" fmla="*/ 7529 w 7575"/>
                  <a:gd name="T79" fmla="*/ 1961 h 35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575" h="3591">
                    <a:moveTo>
                      <a:pt x="7529" y="1961"/>
                    </a:moveTo>
                    <a:cubicBezTo>
                      <a:pt x="7401" y="1993"/>
                      <a:pt x="7290" y="2021"/>
                      <a:pt x="7143" y="2058"/>
                    </a:cubicBezTo>
                    <a:cubicBezTo>
                      <a:pt x="7113" y="2065"/>
                      <a:pt x="7100" y="2049"/>
                      <a:pt x="7114" y="2022"/>
                    </a:cubicBezTo>
                    <a:cubicBezTo>
                      <a:pt x="7181" y="1886"/>
                      <a:pt x="7236" y="1772"/>
                      <a:pt x="7303" y="1637"/>
                    </a:cubicBezTo>
                    <a:cubicBezTo>
                      <a:pt x="7316" y="1610"/>
                      <a:pt x="7306" y="1574"/>
                      <a:pt x="7282" y="1557"/>
                    </a:cubicBezTo>
                    <a:cubicBezTo>
                      <a:pt x="7136" y="1452"/>
                      <a:pt x="6989" y="1325"/>
                      <a:pt x="6818" y="1250"/>
                    </a:cubicBezTo>
                    <a:cubicBezTo>
                      <a:pt x="6436" y="1082"/>
                      <a:pt x="6037" y="952"/>
                      <a:pt x="5649" y="795"/>
                    </a:cubicBezTo>
                    <a:cubicBezTo>
                      <a:pt x="5559" y="759"/>
                      <a:pt x="5450" y="691"/>
                      <a:pt x="5416" y="610"/>
                    </a:cubicBezTo>
                    <a:cubicBezTo>
                      <a:pt x="5288" y="307"/>
                      <a:pt x="5056" y="127"/>
                      <a:pt x="4760" y="32"/>
                    </a:cubicBezTo>
                    <a:cubicBezTo>
                      <a:pt x="4660" y="0"/>
                      <a:pt x="4523" y="27"/>
                      <a:pt x="4419" y="68"/>
                    </a:cubicBezTo>
                    <a:cubicBezTo>
                      <a:pt x="3979" y="240"/>
                      <a:pt x="3550" y="440"/>
                      <a:pt x="3108" y="606"/>
                    </a:cubicBezTo>
                    <a:cubicBezTo>
                      <a:pt x="2872" y="694"/>
                      <a:pt x="2618" y="735"/>
                      <a:pt x="2372" y="798"/>
                    </a:cubicBezTo>
                    <a:cubicBezTo>
                      <a:pt x="2309" y="814"/>
                      <a:pt x="2227" y="815"/>
                      <a:pt x="2190" y="856"/>
                    </a:cubicBezTo>
                    <a:cubicBezTo>
                      <a:pt x="2118" y="937"/>
                      <a:pt x="2036" y="1037"/>
                      <a:pt x="2028" y="1136"/>
                    </a:cubicBezTo>
                    <a:cubicBezTo>
                      <a:pt x="2024" y="1187"/>
                      <a:pt x="2101" y="1244"/>
                      <a:pt x="2161" y="1297"/>
                    </a:cubicBezTo>
                    <a:cubicBezTo>
                      <a:pt x="2184" y="1317"/>
                      <a:pt x="2179" y="1346"/>
                      <a:pt x="2152" y="1359"/>
                    </a:cubicBezTo>
                    <a:cubicBezTo>
                      <a:pt x="1855" y="1501"/>
                      <a:pt x="1581" y="1467"/>
                      <a:pt x="1284" y="1227"/>
                    </a:cubicBezTo>
                    <a:cubicBezTo>
                      <a:pt x="1035" y="1025"/>
                      <a:pt x="795" y="810"/>
                      <a:pt x="539" y="619"/>
                    </a:cubicBezTo>
                    <a:cubicBezTo>
                      <a:pt x="399" y="514"/>
                      <a:pt x="239" y="437"/>
                      <a:pt x="79" y="364"/>
                    </a:cubicBezTo>
                    <a:cubicBezTo>
                      <a:pt x="52" y="351"/>
                      <a:pt x="43" y="362"/>
                      <a:pt x="58" y="388"/>
                    </a:cubicBezTo>
                    <a:cubicBezTo>
                      <a:pt x="554" y="1197"/>
                      <a:pt x="568" y="1978"/>
                      <a:pt x="17" y="2793"/>
                    </a:cubicBezTo>
                    <a:cubicBezTo>
                      <a:pt x="0" y="2818"/>
                      <a:pt x="8" y="2828"/>
                      <a:pt x="36" y="2816"/>
                    </a:cubicBezTo>
                    <a:cubicBezTo>
                      <a:pt x="216" y="2740"/>
                      <a:pt x="399" y="2670"/>
                      <a:pt x="571" y="2578"/>
                    </a:cubicBezTo>
                    <a:cubicBezTo>
                      <a:pt x="781" y="2467"/>
                      <a:pt x="973" y="2321"/>
                      <a:pt x="1182" y="2207"/>
                    </a:cubicBezTo>
                    <a:cubicBezTo>
                      <a:pt x="1600" y="1981"/>
                      <a:pt x="1793" y="1970"/>
                      <a:pt x="2213" y="2123"/>
                    </a:cubicBezTo>
                    <a:cubicBezTo>
                      <a:pt x="2241" y="2133"/>
                      <a:pt x="2258" y="2165"/>
                      <a:pt x="2248" y="2194"/>
                    </a:cubicBezTo>
                    <a:cubicBezTo>
                      <a:pt x="2215" y="2291"/>
                      <a:pt x="2165" y="2389"/>
                      <a:pt x="2190" y="2461"/>
                    </a:cubicBezTo>
                    <a:cubicBezTo>
                      <a:pt x="2262" y="2665"/>
                      <a:pt x="2623" y="2834"/>
                      <a:pt x="2804" y="2777"/>
                    </a:cubicBezTo>
                    <a:cubicBezTo>
                      <a:pt x="2984" y="2721"/>
                      <a:pt x="3159" y="2647"/>
                      <a:pt x="3339" y="2591"/>
                    </a:cubicBezTo>
                    <a:cubicBezTo>
                      <a:pt x="3405" y="2571"/>
                      <a:pt x="3492" y="2554"/>
                      <a:pt x="3549" y="2581"/>
                    </a:cubicBezTo>
                    <a:cubicBezTo>
                      <a:pt x="4061" y="2815"/>
                      <a:pt x="4596" y="2842"/>
                      <a:pt x="5144" y="2788"/>
                    </a:cubicBezTo>
                    <a:cubicBezTo>
                      <a:pt x="5150" y="2788"/>
                      <a:pt x="5157" y="2792"/>
                      <a:pt x="5164" y="2798"/>
                    </a:cubicBezTo>
                    <a:cubicBezTo>
                      <a:pt x="5174" y="2806"/>
                      <a:pt x="5170" y="2834"/>
                      <a:pt x="5156" y="2860"/>
                    </a:cubicBezTo>
                    <a:cubicBezTo>
                      <a:pt x="4971" y="3207"/>
                      <a:pt x="4975" y="3234"/>
                      <a:pt x="5233" y="3556"/>
                    </a:cubicBezTo>
                    <a:cubicBezTo>
                      <a:pt x="5252" y="3579"/>
                      <a:pt x="5290" y="3591"/>
                      <a:pt x="5318" y="3579"/>
                    </a:cubicBezTo>
                    <a:cubicBezTo>
                      <a:pt x="5667" y="3429"/>
                      <a:pt x="5549" y="3070"/>
                      <a:pt x="5650" y="2794"/>
                    </a:cubicBezTo>
                    <a:cubicBezTo>
                      <a:pt x="5661" y="2765"/>
                      <a:pt x="5695" y="2739"/>
                      <a:pt x="5725" y="2732"/>
                    </a:cubicBezTo>
                    <a:cubicBezTo>
                      <a:pt x="6337" y="2602"/>
                      <a:pt x="6969" y="2466"/>
                      <a:pt x="7528" y="2118"/>
                    </a:cubicBezTo>
                    <a:cubicBezTo>
                      <a:pt x="7550" y="2104"/>
                      <a:pt x="7555" y="2061"/>
                      <a:pt x="7568" y="2001"/>
                    </a:cubicBezTo>
                    <a:cubicBezTo>
                      <a:pt x="7575" y="1971"/>
                      <a:pt x="7558" y="1954"/>
                      <a:pt x="7529" y="196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</p:sp>
          <p:sp>
            <p:nvSpPr>
              <p:cNvPr id="47" name="矩形 46"/>
              <p:cNvSpPr/>
              <p:nvPr/>
            </p:nvSpPr>
            <p:spPr>
              <a:xfrm>
                <a:off x="2153614" y="3961240"/>
                <a:ext cx="893193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Crawfish</a:t>
                </a:r>
                <a:endParaRPr lang="zh-CN" altLang="en-US" sz="14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8" name="矩形 47"/>
              <p:cNvSpPr/>
              <p:nvPr/>
            </p:nvSpPr>
            <p:spPr>
              <a:xfrm>
                <a:off x="3153564" y="3960495"/>
                <a:ext cx="762674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ilapia</a:t>
                </a:r>
                <a:endParaRPr lang="zh-CN" altLang="en-US" sz="14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9" name="矩形 48"/>
              <p:cNvSpPr/>
              <p:nvPr/>
            </p:nvSpPr>
            <p:spPr>
              <a:xfrm>
                <a:off x="2740024" y="3220672"/>
                <a:ext cx="692818" cy="30777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altLang="zh-CN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Prawn</a:t>
                </a:r>
                <a:endParaRPr lang="zh-CN" altLang="en-US" sz="1400" b="1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0" name="friendfeed-logo_792"/>
              <p:cNvSpPr>
                <a:spLocks noChangeAspect="1"/>
              </p:cNvSpPr>
              <p:nvPr/>
            </p:nvSpPr>
            <p:spPr bwMode="auto">
              <a:xfrm>
                <a:off x="3823028" y="2467236"/>
                <a:ext cx="186420" cy="216555"/>
              </a:xfrm>
              <a:custGeom>
                <a:avLst/>
                <a:gdLst>
                  <a:gd name="T0" fmla="*/ 208 w 245"/>
                  <a:gd name="T1" fmla="*/ 51 h 285"/>
                  <a:gd name="T2" fmla="*/ 212 w 245"/>
                  <a:gd name="T3" fmla="*/ 50 h 285"/>
                  <a:gd name="T4" fmla="*/ 216 w 245"/>
                  <a:gd name="T5" fmla="*/ 49 h 285"/>
                  <a:gd name="T6" fmla="*/ 217 w 245"/>
                  <a:gd name="T7" fmla="*/ 49 h 285"/>
                  <a:gd name="T8" fmla="*/ 232 w 245"/>
                  <a:gd name="T9" fmla="*/ 51 h 285"/>
                  <a:gd name="T10" fmla="*/ 239 w 245"/>
                  <a:gd name="T11" fmla="*/ 52 h 285"/>
                  <a:gd name="T12" fmla="*/ 245 w 245"/>
                  <a:gd name="T13" fmla="*/ 52 h 285"/>
                  <a:gd name="T14" fmla="*/ 245 w 245"/>
                  <a:gd name="T15" fmla="*/ 4 h 285"/>
                  <a:gd name="T16" fmla="*/ 199 w 245"/>
                  <a:gd name="T17" fmla="*/ 0 h 285"/>
                  <a:gd name="T18" fmla="*/ 191 w 245"/>
                  <a:gd name="T19" fmla="*/ 0 h 285"/>
                  <a:gd name="T20" fmla="*/ 186 w 245"/>
                  <a:gd name="T21" fmla="*/ 1 h 285"/>
                  <a:gd name="T22" fmla="*/ 170 w 245"/>
                  <a:gd name="T23" fmla="*/ 7 h 285"/>
                  <a:gd name="T24" fmla="*/ 160 w 245"/>
                  <a:gd name="T25" fmla="*/ 14 h 285"/>
                  <a:gd name="T26" fmla="*/ 160 w 245"/>
                  <a:gd name="T27" fmla="*/ 14 h 285"/>
                  <a:gd name="T28" fmla="*/ 147 w 245"/>
                  <a:gd name="T29" fmla="*/ 33 h 285"/>
                  <a:gd name="T30" fmla="*/ 145 w 245"/>
                  <a:gd name="T31" fmla="*/ 39 h 285"/>
                  <a:gd name="T32" fmla="*/ 144 w 245"/>
                  <a:gd name="T33" fmla="*/ 45 h 285"/>
                  <a:gd name="T34" fmla="*/ 144 w 245"/>
                  <a:gd name="T35" fmla="*/ 51 h 285"/>
                  <a:gd name="T36" fmla="*/ 144 w 245"/>
                  <a:gd name="T37" fmla="*/ 56 h 285"/>
                  <a:gd name="T38" fmla="*/ 143 w 245"/>
                  <a:gd name="T39" fmla="*/ 97 h 285"/>
                  <a:gd name="T40" fmla="*/ 130 w 245"/>
                  <a:gd name="T41" fmla="*/ 97 h 285"/>
                  <a:gd name="T42" fmla="*/ 88 w 245"/>
                  <a:gd name="T43" fmla="*/ 97 h 285"/>
                  <a:gd name="T44" fmla="*/ 88 w 245"/>
                  <a:gd name="T45" fmla="*/ 67 h 285"/>
                  <a:gd name="T46" fmla="*/ 91 w 245"/>
                  <a:gd name="T47" fmla="*/ 55 h 285"/>
                  <a:gd name="T48" fmla="*/ 95 w 245"/>
                  <a:gd name="T49" fmla="*/ 51 h 285"/>
                  <a:gd name="T50" fmla="*/ 98 w 245"/>
                  <a:gd name="T51" fmla="*/ 50 h 285"/>
                  <a:gd name="T52" fmla="*/ 102 w 245"/>
                  <a:gd name="T53" fmla="*/ 49 h 285"/>
                  <a:gd name="T54" fmla="*/ 103 w 245"/>
                  <a:gd name="T55" fmla="*/ 49 h 285"/>
                  <a:gd name="T56" fmla="*/ 119 w 245"/>
                  <a:gd name="T57" fmla="*/ 51 h 285"/>
                  <a:gd name="T58" fmla="*/ 125 w 245"/>
                  <a:gd name="T59" fmla="*/ 52 h 285"/>
                  <a:gd name="T60" fmla="*/ 132 w 245"/>
                  <a:gd name="T61" fmla="*/ 52 h 285"/>
                  <a:gd name="T62" fmla="*/ 132 w 245"/>
                  <a:gd name="T63" fmla="*/ 4 h 285"/>
                  <a:gd name="T64" fmla="*/ 85 w 245"/>
                  <a:gd name="T65" fmla="*/ 0 h 285"/>
                  <a:gd name="T66" fmla="*/ 78 w 245"/>
                  <a:gd name="T67" fmla="*/ 0 h 285"/>
                  <a:gd name="T68" fmla="*/ 72 w 245"/>
                  <a:gd name="T69" fmla="*/ 1 h 285"/>
                  <a:gd name="T70" fmla="*/ 56 w 245"/>
                  <a:gd name="T71" fmla="*/ 7 h 285"/>
                  <a:gd name="T72" fmla="*/ 46 w 245"/>
                  <a:gd name="T73" fmla="*/ 14 h 285"/>
                  <a:gd name="T74" fmla="*/ 47 w 245"/>
                  <a:gd name="T75" fmla="*/ 14 h 285"/>
                  <a:gd name="T76" fmla="*/ 34 w 245"/>
                  <a:gd name="T77" fmla="*/ 33 h 285"/>
                  <a:gd name="T78" fmla="*/ 32 w 245"/>
                  <a:gd name="T79" fmla="*/ 39 h 285"/>
                  <a:gd name="T80" fmla="*/ 31 w 245"/>
                  <a:gd name="T81" fmla="*/ 45 h 285"/>
                  <a:gd name="T82" fmla="*/ 31 w 245"/>
                  <a:gd name="T83" fmla="*/ 51 h 285"/>
                  <a:gd name="T84" fmla="*/ 31 w 245"/>
                  <a:gd name="T85" fmla="*/ 56 h 285"/>
                  <a:gd name="T86" fmla="*/ 30 w 245"/>
                  <a:gd name="T87" fmla="*/ 97 h 285"/>
                  <a:gd name="T88" fmla="*/ 0 w 245"/>
                  <a:gd name="T89" fmla="*/ 97 h 285"/>
                  <a:gd name="T90" fmla="*/ 0 w 245"/>
                  <a:gd name="T91" fmla="*/ 145 h 285"/>
                  <a:gd name="T92" fmla="*/ 0 w 245"/>
                  <a:gd name="T93" fmla="*/ 145 h 285"/>
                  <a:gd name="T94" fmla="*/ 31 w 245"/>
                  <a:gd name="T95" fmla="*/ 145 h 285"/>
                  <a:gd name="T96" fmla="*/ 31 w 245"/>
                  <a:gd name="T97" fmla="*/ 285 h 285"/>
                  <a:gd name="T98" fmla="*/ 88 w 245"/>
                  <a:gd name="T99" fmla="*/ 285 h 285"/>
                  <a:gd name="T100" fmla="*/ 88 w 245"/>
                  <a:gd name="T101" fmla="*/ 146 h 285"/>
                  <a:gd name="T102" fmla="*/ 124 w 245"/>
                  <a:gd name="T103" fmla="*/ 145 h 285"/>
                  <a:gd name="T104" fmla="*/ 144 w 245"/>
                  <a:gd name="T105" fmla="*/ 145 h 285"/>
                  <a:gd name="T106" fmla="*/ 144 w 245"/>
                  <a:gd name="T107" fmla="*/ 285 h 285"/>
                  <a:gd name="T108" fmla="*/ 201 w 245"/>
                  <a:gd name="T109" fmla="*/ 285 h 285"/>
                  <a:gd name="T110" fmla="*/ 201 w 245"/>
                  <a:gd name="T111" fmla="*/ 146 h 285"/>
                  <a:gd name="T112" fmla="*/ 244 w 245"/>
                  <a:gd name="T113" fmla="*/ 145 h 285"/>
                  <a:gd name="T114" fmla="*/ 244 w 245"/>
                  <a:gd name="T115" fmla="*/ 97 h 285"/>
                  <a:gd name="T116" fmla="*/ 202 w 245"/>
                  <a:gd name="T117" fmla="*/ 97 h 285"/>
                  <a:gd name="T118" fmla="*/ 201 w 245"/>
                  <a:gd name="T119" fmla="*/ 67 h 285"/>
                  <a:gd name="T120" fmla="*/ 204 w 245"/>
                  <a:gd name="T121" fmla="*/ 55 h 285"/>
                  <a:gd name="T122" fmla="*/ 208 w 245"/>
                  <a:gd name="T123" fmla="*/ 51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45" h="285">
                    <a:moveTo>
                      <a:pt x="208" y="51"/>
                    </a:moveTo>
                    <a:lnTo>
                      <a:pt x="212" y="50"/>
                    </a:lnTo>
                    <a:cubicBezTo>
                      <a:pt x="213" y="49"/>
                      <a:pt x="214" y="49"/>
                      <a:pt x="216" y="49"/>
                    </a:cubicBezTo>
                    <a:lnTo>
                      <a:pt x="217" y="49"/>
                    </a:lnTo>
                    <a:lnTo>
                      <a:pt x="232" y="51"/>
                    </a:lnTo>
                    <a:lnTo>
                      <a:pt x="239" y="52"/>
                    </a:lnTo>
                    <a:lnTo>
                      <a:pt x="245" y="52"/>
                    </a:lnTo>
                    <a:lnTo>
                      <a:pt x="245" y="4"/>
                    </a:lnTo>
                    <a:lnTo>
                      <a:pt x="199" y="0"/>
                    </a:lnTo>
                    <a:lnTo>
                      <a:pt x="191" y="0"/>
                    </a:lnTo>
                    <a:lnTo>
                      <a:pt x="186" y="1"/>
                    </a:lnTo>
                    <a:cubicBezTo>
                      <a:pt x="180" y="2"/>
                      <a:pt x="174" y="4"/>
                      <a:pt x="170" y="7"/>
                    </a:cubicBezTo>
                    <a:lnTo>
                      <a:pt x="160" y="14"/>
                    </a:lnTo>
                    <a:lnTo>
                      <a:pt x="160" y="14"/>
                    </a:lnTo>
                    <a:cubicBezTo>
                      <a:pt x="155" y="20"/>
                      <a:pt x="150" y="26"/>
                      <a:pt x="147" y="33"/>
                    </a:cubicBezTo>
                    <a:cubicBezTo>
                      <a:pt x="146" y="35"/>
                      <a:pt x="146" y="37"/>
                      <a:pt x="145" y="39"/>
                    </a:cubicBezTo>
                    <a:cubicBezTo>
                      <a:pt x="145" y="41"/>
                      <a:pt x="145" y="43"/>
                      <a:pt x="144" y="45"/>
                    </a:cubicBezTo>
                    <a:lnTo>
                      <a:pt x="144" y="51"/>
                    </a:lnTo>
                    <a:lnTo>
                      <a:pt x="144" y="56"/>
                    </a:lnTo>
                    <a:cubicBezTo>
                      <a:pt x="144" y="84"/>
                      <a:pt x="144" y="97"/>
                      <a:pt x="143" y="97"/>
                    </a:cubicBezTo>
                    <a:lnTo>
                      <a:pt x="130" y="97"/>
                    </a:lnTo>
                    <a:lnTo>
                      <a:pt x="88" y="97"/>
                    </a:lnTo>
                    <a:cubicBezTo>
                      <a:pt x="88" y="96"/>
                      <a:pt x="88" y="87"/>
                      <a:pt x="88" y="67"/>
                    </a:cubicBezTo>
                    <a:cubicBezTo>
                      <a:pt x="88" y="62"/>
                      <a:pt x="89" y="58"/>
                      <a:pt x="91" y="55"/>
                    </a:cubicBezTo>
                    <a:cubicBezTo>
                      <a:pt x="92" y="54"/>
                      <a:pt x="93" y="52"/>
                      <a:pt x="95" y="51"/>
                    </a:cubicBezTo>
                    <a:lnTo>
                      <a:pt x="98" y="50"/>
                    </a:lnTo>
                    <a:cubicBezTo>
                      <a:pt x="99" y="49"/>
                      <a:pt x="101" y="49"/>
                      <a:pt x="102" y="49"/>
                    </a:cubicBezTo>
                    <a:lnTo>
                      <a:pt x="103" y="49"/>
                    </a:lnTo>
                    <a:lnTo>
                      <a:pt x="119" y="51"/>
                    </a:lnTo>
                    <a:lnTo>
                      <a:pt x="125" y="52"/>
                    </a:lnTo>
                    <a:lnTo>
                      <a:pt x="132" y="52"/>
                    </a:lnTo>
                    <a:lnTo>
                      <a:pt x="132" y="4"/>
                    </a:lnTo>
                    <a:lnTo>
                      <a:pt x="85" y="0"/>
                    </a:lnTo>
                    <a:lnTo>
                      <a:pt x="78" y="0"/>
                    </a:lnTo>
                    <a:lnTo>
                      <a:pt x="72" y="1"/>
                    </a:lnTo>
                    <a:cubicBezTo>
                      <a:pt x="66" y="2"/>
                      <a:pt x="61" y="4"/>
                      <a:pt x="56" y="7"/>
                    </a:cubicBezTo>
                    <a:lnTo>
                      <a:pt x="46" y="14"/>
                    </a:lnTo>
                    <a:lnTo>
                      <a:pt x="47" y="14"/>
                    </a:lnTo>
                    <a:cubicBezTo>
                      <a:pt x="41" y="20"/>
                      <a:pt x="36" y="26"/>
                      <a:pt x="34" y="33"/>
                    </a:cubicBezTo>
                    <a:cubicBezTo>
                      <a:pt x="33" y="35"/>
                      <a:pt x="32" y="37"/>
                      <a:pt x="32" y="39"/>
                    </a:cubicBezTo>
                    <a:cubicBezTo>
                      <a:pt x="31" y="41"/>
                      <a:pt x="31" y="43"/>
                      <a:pt x="31" y="45"/>
                    </a:cubicBezTo>
                    <a:lnTo>
                      <a:pt x="31" y="51"/>
                    </a:lnTo>
                    <a:lnTo>
                      <a:pt x="31" y="56"/>
                    </a:lnTo>
                    <a:cubicBezTo>
                      <a:pt x="31" y="84"/>
                      <a:pt x="30" y="97"/>
                      <a:pt x="30" y="97"/>
                    </a:cubicBezTo>
                    <a:lnTo>
                      <a:pt x="0" y="97"/>
                    </a:lnTo>
                    <a:lnTo>
                      <a:pt x="0" y="145"/>
                    </a:lnTo>
                    <a:lnTo>
                      <a:pt x="0" y="145"/>
                    </a:lnTo>
                    <a:lnTo>
                      <a:pt x="31" y="145"/>
                    </a:lnTo>
                    <a:lnTo>
                      <a:pt x="31" y="285"/>
                    </a:lnTo>
                    <a:lnTo>
                      <a:pt x="88" y="285"/>
                    </a:lnTo>
                    <a:lnTo>
                      <a:pt x="88" y="146"/>
                    </a:lnTo>
                    <a:lnTo>
                      <a:pt x="124" y="145"/>
                    </a:lnTo>
                    <a:lnTo>
                      <a:pt x="144" y="145"/>
                    </a:lnTo>
                    <a:lnTo>
                      <a:pt x="144" y="285"/>
                    </a:lnTo>
                    <a:lnTo>
                      <a:pt x="201" y="285"/>
                    </a:lnTo>
                    <a:lnTo>
                      <a:pt x="201" y="146"/>
                    </a:lnTo>
                    <a:lnTo>
                      <a:pt x="244" y="145"/>
                    </a:lnTo>
                    <a:lnTo>
                      <a:pt x="244" y="97"/>
                    </a:lnTo>
                    <a:lnTo>
                      <a:pt x="202" y="97"/>
                    </a:lnTo>
                    <a:cubicBezTo>
                      <a:pt x="202" y="96"/>
                      <a:pt x="201" y="87"/>
                      <a:pt x="201" y="67"/>
                    </a:cubicBezTo>
                    <a:cubicBezTo>
                      <a:pt x="201" y="62"/>
                      <a:pt x="202" y="58"/>
                      <a:pt x="204" y="55"/>
                    </a:cubicBezTo>
                    <a:cubicBezTo>
                      <a:pt x="206" y="54"/>
                      <a:pt x="207" y="52"/>
                      <a:pt x="208" y="51"/>
                    </a:cubicBezTo>
                    <a:close/>
                  </a:path>
                </a:pathLst>
              </a:custGeom>
              <a:solidFill>
                <a:srgbClr val="02B0ED"/>
              </a:solidFill>
              <a:ln>
                <a:noFill/>
              </a:ln>
            </p:spPr>
          </p:sp>
          <p:sp>
            <p:nvSpPr>
              <p:cNvPr id="51" name="molecule_247420"/>
              <p:cNvSpPr>
                <a:spLocks noChangeAspect="1"/>
              </p:cNvSpPr>
              <p:nvPr/>
            </p:nvSpPr>
            <p:spPr bwMode="auto">
              <a:xfrm>
                <a:off x="2398561" y="2256107"/>
                <a:ext cx="374363" cy="373799"/>
              </a:xfrm>
              <a:custGeom>
                <a:avLst/>
                <a:gdLst>
                  <a:gd name="connsiteX0" fmla="*/ 117996 w 609614"/>
                  <a:gd name="connsiteY0" fmla="*/ 549788 h 608697"/>
                  <a:gd name="connsiteX1" fmla="*/ 98361 w 609614"/>
                  <a:gd name="connsiteY1" fmla="*/ 569486 h 608697"/>
                  <a:gd name="connsiteX2" fmla="*/ 117996 w 609614"/>
                  <a:gd name="connsiteY2" fmla="*/ 589091 h 608697"/>
                  <a:gd name="connsiteX3" fmla="*/ 137631 w 609614"/>
                  <a:gd name="connsiteY3" fmla="*/ 569486 h 608697"/>
                  <a:gd name="connsiteX4" fmla="*/ 117996 w 609614"/>
                  <a:gd name="connsiteY4" fmla="*/ 549788 h 608697"/>
                  <a:gd name="connsiteX5" fmla="*/ 167099 w 609614"/>
                  <a:gd name="connsiteY5" fmla="*/ 412384 h 608697"/>
                  <a:gd name="connsiteX6" fmla="*/ 186857 w 609614"/>
                  <a:gd name="connsiteY6" fmla="*/ 412384 h 608697"/>
                  <a:gd name="connsiteX7" fmla="*/ 186857 w 609614"/>
                  <a:gd name="connsiteY7" fmla="*/ 432001 h 608697"/>
                  <a:gd name="connsiteX8" fmla="*/ 167099 w 609614"/>
                  <a:gd name="connsiteY8" fmla="*/ 432001 h 608697"/>
                  <a:gd name="connsiteX9" fmla="*/ 127864 w 609614"/>
                  <a:gd name="connsiteY9" fmla="*/ 412384 h 608697"/>
                  <a:gd name="connsiteX10" fmla="*/ 147481 w 609614"/>
                  <a:gd name="connsiteY10" fmla="*/ 412384 h 608697"/>
                  <a:gd name="connsiteX11" fmla="*/ 147481 w 609614"/>
                  <a:gd name="connsiteY11" fmla="*/ 432001 h 608697"/>
                  <a:gd name="connsiteX12" fmla="*/ 127864 w 609614"/>
                  <a:gd name="connsiteY12" fmla="*/ 432001 h 608697"/>
                  <a:gd name="connsiteX13" fmla="*/ 88489 w 609614"/>
                  <a:gd name="connsiteY13" fmla="*/ 412384 h 608697"/>
                  <a:gd name="connsiteX14" fmla="*/ 108106 w 609614"/>
                  <a:gd name="connsiteY14" fmla="*/ 412384 h 608697"/>
                  <a:gd name="connsiteX15" fmla="*/ 108106 w 609614"/>
                  <a:gd name="connsiteY15" fmla="*/ 432001 h 608697"/>
                  <a:gd name="connsiteX16" fmla="*/ 88489 w 609614"/>
                  <a:gd name="connsiteY16" fmla="*/ 432001 h 608697"/>
                  <a:gd name="connsiteX17" fmla="*/ 373597 w 609614"/>
                  <a:gd name="connsiteY17" fmla="*/ 360028 h 608697"/>
                  <a:gd name="connsiteX18" fmla="*/ 334335 w 609614"/>
                  <a:gd name="connsiteY18" fmla="*/ 412401 h 608697"/>
                  <a:gd name="connsiteX19" fmla="*/ 324473 w 609614"/>
                  <a:gd name="connsiteY19" fmla="*/ 441855 h 608697"/>
                  <a:gd name="connsiteX20" fmla="*/ 373597 w 609614"/>
                  <a:gd name="connsiteY20" fmla="*/ 490914 h 608697"/>
                  <a:gd name="connsiteX21" fmla="*/ 422813 w 609614"/>
                  <a:gd name="connsiteY21" fmla="*/ 441855 h 608697"/>
                  <a:gd name="connsiteX22" fmla="*/ 412951 w 609614"/>
                  <a:gd name="connsiteY22" fmla="*/ 412401 h 608697"/>
                  <a:gd name="connsiteX23" fmla="*/ 373597 w 609614"/>
                  <a:gd name="connsiteY23" fmla="*/ 327353 h 608697"/>
                  <a:gd name="connsiteX24" fmla="*/ 428712 w 609614"/>
                  <a:gd name="connsiteY24" fmla="*/ 400619 h 608697"/>
                  <a:gd name="connsiteX25" fmla="*/ 442444 w 609614"/>
                  <a:gd name="connsiteY25" fmla="*/ 441855 h 608697"/>
                  <a:gd name="connsiteX26" fmla="*/ 373597 w 609614"/>
                  <a:gd name="connsiteY26" fmla="*/ 510611 h 608697"/>
                  <a:gd name="connsiteX27" fmla="*/ 304842 w 609614"/>
                  <a:gd name="connsiteY27" fmla="*/ 441855 h 608697"/>
                  <a:gd name="connsiteX28" fmla="*/ 318575 w 609614"/>
                  <a:gd name="connsiteY28" fmla="*/ 400619 h 608697"/>
                  <a:gd name="connsiteX29" fmla="*/ 373623 w 609614"/>
                  <a:gd name="connsiteY29" fmla="*/ 296110 h 608697"/>
                  <a:gd name="connsiteX30" fmla="*/ 319603 w 609614"/>
                  <a:gd name="connsiteY30" fmla="*/ 327590 h 608697"/>
                  <a:gd name="connsiteX31" fmla="*/ 265491 w 609614"/>
                  <a:gd name="connsiteY31" fmla="*/ 359070 h 608697"/>
                  <a:gd name="connsiteX32" fmla="*/ 265491 w 609614"/>
                  <a:gd name="connsiteY32" fmla="*/ 485264 h 608697"/>
                  <a:gd name="connsiteX33" fmla="*/ 373623 w 609614"/>
                  <a:gd name="connsiteY33" fmla="*/ 548315 h 608697"/>
                  <a:gd name="connsiteX34" fmla="*/ 421190 w 609614"/>
                  <a:gd name="connsiteY34" fmla="*/ 520609 h 608697"/>
                  <a:gd name="connsiteX35" fmla="*/ 481847 w 609614"/>
                  <a:gd name="connsiteY35" fmla="*/ 485264 h 608697"/>
                  <a:gd name="connsiteX36" fmla="*/ 481847 w 609614"/>
                  <a:gd name="connsiteY36" fmla="*/ 359070 h 608697"/>
                  <a:gd name="connsiteX37" fmla="*/ 570344 w 609614"/>
                  <a:gd name="connsiteY37" fmla="*/ 284697 h 608697"/>
                  <a:gd name="connsiteX38" fmla="*/ 550616 w 609614"/>
                  <a:gd name="connsiteY38" fmla="*/ 304395 h 608697"/>
                  <a:gd name="connsiteX39" fmla="*/ 570344 w 609614"/>
                  <a:gd name="connsiteY39" fmla="*/ 324000 h 608697"/>
                  <a:gd name="connsiteX40" fmla="*/ 589979 w 609614"/>
                  <a:gd name="connsiteY40" fmla="*/ 304395 h 608697"/>
                  <a:gd name="connsiteX41" fmla="*/ 570344 w 609614"/>
                  <a:gd name="connsiteY41" fmla="*/ 284697 h 608697"/>
                  <a:gd name="connsiteX42" fmla="*/ 521125 w 609614"/>
                  <a:gd name="connsiteY42" fmla="*/ 206192 h 608697"/>
                  <a:gd name="connsiteX43" fmla="*/ 540813 w 609614"/>
                  <a:gd name="connsiteY43" fmla="*/ 206192 h 608697"/>
                  <a:gd name="connsiteX44" fmla="*/ 540813 w 609614"/>
                  <a:gd name="connsiteY44" fmla="*/ 225809 h 608697"/>
                  <a:gd name="connsiteX45" fmla="*/ 521125 w 609614"/>
                  <a:gd name="connsiteY45" fmla="*/ 225809 h 608697"/>
                  <a:gd name="connsiteX46" fmla="*/ 481820 w 609614"/>
                  <a:gd name="connsiteY46" fmla="*/ 206192 h 608697"/>
                  <a:gd name="connsiteX47" fmla="*/ 501508 w 609614"/>
                  <a:gd name="connsiteY47" fmla="*/ 206192 h 608697"/>
                  <a:gd name="connsiteX48" fmla="*/ 501508 w 609614"/>
                  <a:gd name="connsiteY48" fmla="*/ 225809 h 608697"/>
                  <a:gd name="connsiteX49" fmla="*/ 481820 w 609614"/>
                  <a:gd name="connsiteY49" fmla="*/ 225809 h 608697"/>
                  <a:gd name="connsiteX50" fmla="*/ 442445 w 609614"/>
                  <a:gd name="connsiteY50" fmla="*/ 206192 h 608697"/>
                  <a:gd name="connsiteX51" fmla="*/ 462133 w 609614"/>
                  <a:gd name="connsiteY51" fmla="*/ 206192 h 608697"/>
                  <a:gd name="connsiteX52" fmla="*/ 462133 w 609614"/>
                  <a:gd name="connsiteY52" fmla="*/ 225809 h 608697"/>
                  <a:gd name="connsiteX53" fmla="*/ 442445 w 609614"/>
                  <a:gd name="connsiteY53" fmla="*/ 225809 h 608697"/>
                  <a:gd name="connsiteX54" fmla="*/ 255612 w 609614"/>
                  <a:gd name="connsiteY54" fmla="*/ 153836 h 608697"/>
                  <a:gd name="connsiteX55" fmla="*/ 216350 w 609614"/>
                  <a:gd name="connsiteY55" fmla="*/ 206209 h 608697"/>
                  <a:gd name="connsiteX56" fmla="*/ 206488 w 609614"/>
                  <a:gd name="connsiteY56" fmla="*/ 235663 h 608697"/>
                  <a:gd name="connsiteX57" fmla="*/ 255612 w 609614"/>
                  <a:gd name="connsiteY57" fmla="*/ 284722 h 608697"/>
                  <a:gd name="connsiteX58" fmla="*/ 304828 w 609614"/>
                  <a:gd name="connsiteY58" fmla="*/ 235663 h 608697"/>
                  <a:gd name="connsiteX59" fmla="*/ 294966 w 609614"/>
                  <a:gd name="connsiteY59" fmla="*/ 206209 h 608697"/>
                  <a:gd name="connsiteX60" fmla="*/ 255612 w 609614"/>
                  <a:gd name="connsiteY60" fmla="*/ 121161 h 608697"/>
                  <a:gd name="connsiteX61" fmla="*/ 310727 w 609614"/>
                  <a:gd name="connsiteY61" fmla="*/ 194427 h 608697"/>
                  <a:gd name="connsiteX62" fmla="*/ 324459 w 609614"/>
                  <a:gd name="connsiteY62" fmla="*/ 235663 h 608697"/>
                  <a:gd name="connsiteX63" fmla="*/ 255612 w 609614"/>
                  <a:gd name="connsiteY63" fmla="*/ 304419 h 608697"/>
                  <a:gd name="connsiteX64" fmla="*/ 186857 w 609614"/>
                  <a:gd name="connsiteY64" fmla="*/ 235663 h 608697"/>
                  <a:gd name="connsiteX65" fmla="*/ 200590 w 609614"/>
                  <a:gd name="connsiteY65" fmla="*/ 194427 h 608697"/>
                  <a:gd name="connsiteX66" fmla="*/ 255627 w 609614"/>
                  <a:gd name="connsiteY66" fmla="*/ 89928 h 608697"/>
                  <a:gd name="connsiteX67" fmla="*/ 147495 w 609614"/>
                  <a:gd name="connsiteY67" fmla="*/ 152888 h 608697"/>
                  <a:gd name="connsiteX68" fmla="*/ 147495 w 609614"/>
                  <a:gd name="connsiteY68" fmla="*/ 279082 h 608697"/>
                  <a:gd name="connsiteX69" fmla="*/ 201607 w 609614"/>
                  <a:gd name="connsiteY69" fmla="*/ 310562 h 608697"/>
                  <a:gd name="connsiteX70" fmla="*/ 255627 w 609614"/>
                  <a:gd name="connsiteY70" fmla="*/ 342041 h 608697"/>
                  <a:gd name="connsiteX71" fmla="*/ 309739 w 609614"/>
                  <a:gd name="connsiteY71" fmla="*/ 310562 h 608697"/>
                  <a:gd name="connsiteX72" fmla="*/ 363851 w 609614"/>
                  <a:gd name="connsiteY72" fmla="*/ 279082 h 608697"/>
                  <a:gd name="connsiteX73" fmla="*/ 363851 w 609614"/>
                  <a:gd name="connsiteY73" fmla="*/ 152888 h 608697"/>
                  <a:gd name="connsiteX74" fmla="*/ 39363 w 609614"/>
                  <a:gd name="connsiteY74" fmla="*/ 68758 h 608697"/>
                  <a:gd name="connsiteX75" fmla="*/ 19635 w 609614"/>
                  <a:gd name="connsiteY75" fmla="*/ 88364 h 608697"/>
                  <a:gd name="connsiteX76" fmla="*/ 39363 w 609614"/>
                  <a:gd name="connsiteY76" fmla="*/ 107969 h 608697"/>
                  <a:gd name="connsiteX77" fmla="*/ 58998 w 609614"/>
                  <a:gd name="connsiteY77" fmla="*/ 88364 h 608697"/>
                  <a:gd name="connsiteX78" fmla="*/ 39363 w 609614"/>
                  <a:gd name="connsiteY78" fmla="*/ 68758 h 608697"/>
                  <a:gd name="connsiteX79" fmla="*/ 245855 w 609614"/>
                  <a:gd name="connsiteY79" fmla="*/ 0 h 608697"/>
                  <a:gd name="connsiteX80" fmla="*/ 265491 w 609614"/>
                  <a:gd name="connsiteY80" fmla="*/ 0 h 608697"/>
                  <a:gd name="connsiteX81" fmla="*/ 265491 w 609614"/>
                  <a:gd name="connsiteY81" fmla="*/ 72900 h 608697"/>
                  <a:gd name="connsiteX82" fmla="*/ 373623 w 609614"/>
                  <a:gd name="connsiteY82" fmla="*/ 135951 h 608697"/>
                  <a:gd name="connsiteX83" fmla="*/ 481847 w 609614"/>
                  <a:gd name="connsiteY83" fmla="*/ 72900 h 608697"/>
                  <a:gd name="connsiteX84" fmla="*/ 481847 w 609614"/>
                  <a:gd name="connsiteY84" fmla="*/ 0 h 608697"/>
                  <a:gd name="connsiteX85" fmla="*/ 501482 w 609614"/>
                  <a:gd name="connsiteY85" fmla="*/ 0 h 608697"/>
                  <a:gd name="connsiteX86" fmla="*/ 501482 w 609614"/>
                  <a:gd name="connsiteY86" fmla="*/ 84222 h 608697"/>
                  <a:gd name="connsiteX87" fmla="*/ 383486 w 609614"/>
                  <a:gd name="connsiteY87" fmla="*/ 152888 h 608697"/>
                  <a:gd name="connsiteX88" fmla="*/ 383486 w 609614"/>
                  <a:gd name="connsiteY88" fmla="*/ 279082 h 608697"/>
                  <a:gd name="connsiteX89" fmla="*/ 491618 w 609614"/>
                  <a:gd name="connsiteY89" fmla="*/ 342041 h 608697"/>
                  <a:gd name="connsiteX90" fmla="*/ 533286 w 609614"/>
                  <a:gd name="connsiteY90" fmla="*/ 317097 h 608697"/>
                  <a:gd name="connsiteX91" fmla="*/ 530981 w 609614"/>
                  <a:gd name="connsiteY91" fmla="*/ 304395 h 608697"/>
                  <a:gd name="connsiteX92" fmla="*/ 570344 w 609614"/>
                  <a:gd name="connsiteY92" fmla="*/ 265091 h 608697"/>
                  <a:gd name="connsiteX93" fmla="*/ 609614 w 609614"/>
                  <a:gd name="connsiteY93" fmla="*/ 304395 h 608697"/>
                  <a:gd name="connsiteX94" fmla="*/ 570344 w 609614"/>
                  <a:gd name="connsiteY94" fmla="*/ 343606 h 608697"/>
                  <a:gd name="connsiteX95" fmla="*/ 544163 w 609614"/>
                  <a:gd name="connsiteY95" fmla="*/ 333481 h 608697"/>
                  <a:gd name="connsiteX96" fmla="*/ 501482 w 609614"/>
                  <a:gd name="connsiteY96" fmla="*/ 358977 h 608697"/>
                  <a:gd name="connsiteX97" fmla="*/ 501482 w 609614"/>
                  <a:gd name="connsiteY97" fmla="*/ 485172 h 608697"/>
                  <a:gd name="connsiteX98" fmla="*/ 565366 w 609614"/>
                  <a:gd name="connsiteY98" fmla="*/ 521622 h 608697"/>
                  <a:gd name="connsiteX99" fmla="*/ 555594 w 609614"/>
                  <a:gd name="connsiteY99" fmla="*/ 538742 h 608697"/>
                  <a:gd name="connsiteX100" fmla="*/ 491711 w 609614"/>
                  <a:gd name="connsiteY100" fmla="*/ 502200 h 608697"/>
                  <a:gd name="connsiteX101" fmla="*/ 431146 w 609614"/>
                  <a:gd name="connsiteY101" fmla="*/ 537546 h 608697"/>
                  <a:gd name="connsiteX102" fmla="*/ 383486 w 609614"/>
                  <a:gd name="connsiteY102" fmla="*/ 565252 h 608697"/>
                  <a:gd name="connsiteX103" fmla="*/ 383486 w 609614"/>
                  <a:gd name="connsiteY103" fmla="*/ 608697 h 608697"/>
                  <a:gd name="connsiteX104" fmla="*/ 363851 w 609614"/>
                  <a:gd name="connsiteY104" fmla="*/ 608697 h 608697"/>
                  <a:gd name="connsiteX105" fmla="*/ 363851 w 609614"/>
                  <a:gd name="connsiteY105" fmla="*/ 565252 h 608697"/>
                  <a:gd name="connsiteX106" fmla="*/ 255627 w 609614"/>
                  <a:gd name="connsiteY106" fmla="*/ 502292 h 608697"/>
                  <a:gd name="connsiteX107" fmla="*/ 156160 w 609614"/>
                  <a:gd name="connsiteY107" fmla="*/ 560281 h 608697"/>
                  <a:gd name="connsiteX108" fmla="*/ 157359 w 609614"/>
                  <a:gd name="connsiteY108" fmla="*/ 569486 h 608697"/>
                  <a:gd name="connsiteX109" fmla="*/ 117996 w 609614"/>
                  <a:gd name="connsiteY109" fmla="*/ 608697 h 608697"/>
                  <a:gd name="connsiteX110" fmla="*/ 78633 w 609614"/>
                  <a:gd name="connsiteY110" fmla="*/ 569486 h 608697"/>
                  <a:gd name="connsiteX111" fmla="*/ 117996 w 609614"/>
                  <a:gd name="connsiteY111" fmla="*/ 530182 h 608697"/>
                  <a:gd name="connsiteX112" fmla="*/ 146850 w 609614"/>
                  <a:gd name="connsiteY112" fmla="*/ 542884 h 608697"/>
                  <a:gd name="connsiteX113" fmla="*/ 245855 w 609614"/>
                  <a:gd name="connsiteY113" fmla="*/ 485264 h 608697"/>
                  <a:gd name="connsiteX114" fmla="*/ 245855 w 609614"/>
                  <a:gd name="connsiteY114" fmla="*/ 359070 h 608697"/>
                  <a:gd name="connsiteX115" fmla="*/ 191743 w 609614"/>
                  <a:gd name="connsiteY115" fmla="*/ 327590 h 608697"/>
                  <a:gd name="connsiteX116" fmla="*/ 137631 w 609614"/>
                  <a:gd name="connsiteY116" fmla="*/ 296110 h 608697"/>
                  <a:gd name="connsiteX117" fmla="*/ 24613 w 609614"/>
                  <a:gd name="connsiteY117" fmla="*/ 361923 h 608697"/>
                  <a:gd name="connsiteX118" fmla="*/ 14749 w 609614"/>
                  <a:gd name="connsiteY118" fmla="*/ 344987 h 608697"/>
                  <a:gd name="connsiteX119" fmla="*/ 127860 w 609614"/>
                  <a:gd name="connsiteY119" fmla="*/ 279082 h 608697"/>
                  <a:gd name="connsiteX120" fmla="*/ 127860 w 609614"/>
                  <a:gd name="connsiteY120" fmla="*/ 152704 h 608697"/>
                  <a:gd name="connsiteX121" fmla="*/ 67847 w 609614"/>
                  <a:gd name="connsiteY121" fmla="*/ 115241 h 608697"/>
                  <a:gd name="connsiteX122" fmla="*/ 39363 w 609614"/>
                  <a:gd name="connsiteY122" fmla="*/ 127667 h 608697"/>
                  <a:gd name="connsiteX123" fmla="*/ 0 w 609614"/>
                  <a:gd name="connsiteY123" fmla="*/ 88364 h 608697"/>
                  <a:gd name="connsiteX124" fmla="*/ 39363 w 609614"/>
                  <a:gd name="connsiteY124" fmla="*/ 49060 h 608697"/>
                  <a:gd name="connsiteX125" fmla="*/ 78633 w 609614"/>
                  <a:gd name="connsiteY125" fmla="*/ 88364 h 608697"/>
                  <a:gd name="connsiteX126" fmla="*/ 77342 w 609614"/>
                  <a:gd name="connsiteY126" fmla="*/ 98028 h 608697"/>
                  <a:gd name="connsiteX127" fmla="*/ 137815 w 609614"/>
                  <a:gd name="connsiteY127" fmla="*/ 135767 h 608697"/>
                  <a:gd name="connsiteX128" fmla="*/ 245855 w 609614"/>
                  <a:gd name="connsiteY128" fmla="*/ 72900 h 608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</a:cxnLst>
                <a:rect l="l" t="t" r="r" b="b"/>
                <a:pathLst>
                  <a:path w="609614" h="608697">
                    <a:moveTo>
                      <a:pt x="117996" y="549788"/>
                    </a:moveTo>
                    <a:cubicBezTo>
                      <a:pt x="107118" y="549788"/>
                      <a:pt x="98361" y="558624"/>
                      <a:pt x="98361" y="569486"/>
                    </a:cubicBezTo>
                    <a:cubicBezTo>
                      <a:pt x="98361" y="580255"/>
                      <a:pt x="107118" y="589091"/>
                      <a:pt x="117996" y="589091"/>
                    </a:cubicBezTo>
                    <a:cubicBezTo>
                      <a:pt x="128874" y="589091"/>
                      <a:pt x="137631" y="580255"/>
                      <a:pt x="137631" y="569486"/>
                    </a:cubicBezTo>
                    <a:cubicBezTo>
                      <a:pt x="137631" y="558624"/>
                      <a:pt x="128874" y="549788"/>
                      <a:pt x="117996" y="549788"/>
                    </a:cubicBezTo>
                    <a:close/>
                    <a:moveTo>
                      <a:pt x="167099" y="412384"/>
                    </a:moveTo>
                    <a:lnTo>
                      <a:pt x="186857" y="412384"/>
                    </a:lnTo>
                    <a:lnTo>
                      <a:pt x="186857" y="432001"/>
                    </a:lnTo>
                    <a:lnTo>
                      <a:pt x="167099" y="432001"/>
                    </a:lnTo>
                    <a:close/>
                    <a:moveTo>
                      <a:pt x="127864" y="412384"/>
                    </a:moveTo>
                    <a:lnTo>
                      <a:pt x="147481" y="412384"/>
                    </a:lnTo>
                    <a:lnTo>
                      <a:pt x="147481" y="432001"/>
                    </a:lnTo>
                    <a:lnTo>
                      <a:pt x="127864" y="432001"/>
                    </a:lnTo>
                    <a:close/>
                    <a:moveTo>
                      <a:pt x="88489" y="412384"/>
                    </a:moveTo>
                    <a:lnTo>
                      <a:pt x="108106" y="412384"/>
                    </a:lnTo>
                    <a:lnTo>
                      <a:pt x="108106" y="432001"/>
                    </a:lnTo>
                    <a:lnTo>
                      <a:pt x="88489" y="432001"/>
                    </a:lnTo>
                    <a:close/>
                    <a:moveTo>
                      <a:pt x="373597" y="360028"/>
                    </a:moveTo>
                    <a:lnTo>
                      <a:pt x="334335" y="412401"/>
                    </a:lnTo>
                    <a:cubicBezTo>
                      <a:pt x="327975" y="420869"/>
                      <a:pt x="324473" y="431270"/>
                      <a:pt x="324473" y="441855"/>
                    </a:cubicBezTo>
                    <a:cubicBezTo>
                      <a:pt x="324473" y="468915"/>
                      <a:pt x="346501" y="490914"/>
                      <a:pt x="373597" y="490914"/>
                    </a:cubicBezTo>
                    <a:cubicBezTo>
                      <a:pt x="400693" y="490914"/>
                      <a:pt x="422813" y="468915"/>
                      <a:pt x="422813" y="441855"/>
                    </a:cubicBezTo>
                    <a:cubicBezTo>
                      <a:pt x="422813" y="431270"/>
                      <a:pt x="419311" y="420869"/>
                      <a:pt x="412951" y="412401"/>
                    </a:cubicBezTo>
                    <a:close/>
                    <a:moveTo>
                      <a:pt x="373597" y="327353"/>
                    </a:moveTo>
                    <a:lnTo>
                      <a:pt x="428712" y="400619"/>
                    </a:lnTo>
                    <a:cubicBezTo>
                      <a:pt x="437559" y="412401"/>
                      <a:pt x="442444" y="427036"/>
                      <a:pt x="442444" y="441855"/>
                    </a:cubicBezTo>
                    <a:cubicBezTo>
                      <a:pt x="442444" y="479777"/>
                      <a:pt x="411569" y="510611"/>
                      <a:pt x="373597" y="510611"/>
                    </a:cubicBezTo>
                    <a:cubicBezTo>
                      <a:pt x="335717" y="510611"/>
                      <a:pt x="304842" y="479777"/>
                      <a:pt x="304842" y="441855"/>
                    </a:cubicBezTo>
                    <a:cubicBezTo>
                      <a:pt x="304842" y="427036"/>
                      <a:pt x="309727" y="412401"/>
                      <a:pt x="318575" y="400619"/>
                    </a:cubicBezTo>
                    <a:close/>
                    <a:moveTo>
                      <a:pt x="373623" y="296110"/>
                    </a:moveTo>
                    <a:lnTo>
                      <a:pt x="319603" y="327590"/>
                    </a:lnTo>
                    <a:lnTo>
                      <a:pt x="265491" y="359070"/>
                    </a:lnTo>
                    <a:lnTo>
                      <a:pt x="265491" y="485264"/>
                    </a:lnTo>
                    <a:lnTo>
                      <a:pt x="373623" y="548315"/>
                    </a:lnTo>
                    <a:lnTo>
                      <a:pt x="421190" y="520609"/>
                    </a:lnTo>
                    <a:lnTo>
                      <a:pt x="481847" y="485264"/>
                    </a:lnTo>
                    <a:lnTo>
                      <a:pt x="481847" y="359070"/>
                    </a:lnTo>
                    <a:close/>
                    <a:moveTo>
                      <a:pt x="570344" y="284697"/>
                    </a:moveTo>
                    <a:cubicBezTo>
                      <a:pt x="559466" y="284697"/>
                      <a:pt x="550616" y="293533"/>
                      <a:pt x="550616" y="304395"/>
                    </a:cubicBezTo>
                    <a:cubicBezTo>
                      <a:pt x="550616" y="315164"/>
                      <a:pt x="559466" y="324000"/>
                      <a:pt x="570344" y="324000"/>
                    </a:cubicBezTo>
                    <a:cubicBezTo>
                      <a:pt x="581129" y="324000"/>
                      <a:pt x="589979" y="315164"/>
                      <a:pt x="589979" y="304395"/>
                    </a:cubicBezTo>
                    <a:cubicBezTo>
                      <a:pt x="589979" y="293533"/>
                      <a:pt x="581129" y="284697"/>
                      <a:pt x="570344" y="284697"/>
                    </a:cubicBezTo>
                    <a:close/>
                    <a:moveTo>
                      <a:pt x="521125" y="206192"/>
                    </a:moveTo>
                    <a:lnTo>
                      <a:pt x="540813" y="206192"/>
                    </a:lnTo>
                    <a:lnTo>
                      <a:pt x="540813" y="225809"/>
                    </a:lnTo>
                    <a:lnTo>
                      <a:pt x="521125" y="225809"/>
                    </a:lnTo>
                    <a:close/>
                    <a:moveTo>
                      <a:pt x="481820" y="206192"/>
                    </a:moveTo>
                    <a:lnTo>
                      <a:pt x="501508" y="206192"/>
                    </a:lnTo>
                    <a:lnTo>
                      <a:pt x="501508" y="225809"/>
                    </a:lnTo>
                    <a:lnTo>
                      <a:pt x="481820" y="225809"/>
                    </a:lnTo>
                    <a:close/>
                    <a:moveTo>
                      <a:pt x="442445" y="206192"/>
                    </a:moveTo>
                    <a:lnTo>
                      <a:pt x="462133" y="206192"/>
                    </a:lnTo>
                    <a:lnTo>
                      <a:pt x="462133" y="225809"/>
                    </a:lnTo>
                    <a:lnTo>
                      <a:pt x="442445" y="225809"/>
                    </a:lnTo>
                    <a:close/>
                    <a:moveTo>
                      <a:pt x="255612" y="153836"/>
                    </a:moveTo>
                    <a:lnTo>
                      <a:pt x="216350" y="206209"/>
                    </a:lnTo>
                    <a:cubicBezTo>
                      <a:pt x="209990" y="214677"/>
                      <a:pt x="206488" y="225078"/>
                      <a:pt x="206488" y="235663"/>
                    </a:cubicBezTo>
                    <a:cubicBezTo>
                      <a:pt x="206488" y="262723"/>
                      <a:pt x="228516" y="284722"/>
                      <a:pt x="255612" y="284722"/>
                    </a:cubicBezTo>
                    <a:cubicBezTo>
                      <a:pt x="282708" y="284722"/>
                      <a:pt x="304828" y="262723"/>
                      <a:pt x="304828" y="235663"/>
                    </a:cubicBezTo>
                    <a:cubicBezTo>
                      <a:pt x="304828" y="225078"/>
                      <a:pt x="301326" y="214677"/>
                      <a:pt x="294966" y="206209"/>
                    </a:cubicBezTo>
                    <a:close/>
                    <a:moveTo>
                      <a:pt x="255612" y="121161"/>
                    </a:moveTo>
                    <a:lnTo>
                      <a:pt x="310727" y="194427"/>
                    </a:lnTo>
                    <a:cubicBezTo>
                      <a:pt x="319574" y="206209"/>
                      <a:pt x="324459" y="220844"/>
                      <a:pt x="324459" y="235663"/>
                    </a:cubicBezTo>
                    <a:cubicBezTo>
                      <a:pt x="324459" y="273585"/>
                      <a:pt x="293584" y="304419"/>
                      <a:pt x="255612" y="304419"/>
                    </a:cubicBezTo>
                    <a:cubicBezTo>
                      <a:pt x="217732" y="304419"/>
                      <a:pt x="186857" y="273585"/>
                      <a:pt x="186857" y="235663"/>
                    </a:cubicBezTo>
                    <a:cubicBezTo>
                      <a:pt x="186857" y="220844"/>
                      <a:pt x="191742" y="206209"/>
                      <a:pt x="200590" y="194427"/>
                    </a:cubicBezTo>
                    <a:close/>
                    <a:moveTo>
                      <a:pt x="255627" y="89928"/>
                    </a:moveTo>
                    <a:lnTo>
                      <a:pt x="147495" y="152888"/>
                    </a:lnTo>
                    <a:lnTo>
                      <a:pt x="147495" y="279082"/>
                    </a:lnTo>
                    <a:lnTo>
                      <a:pt x="201607" y="310562"/>
                    </a:lnTo>
                    <a:lnTo>
                      <a:pt x="255627" y="342041"/>
                    </a:lnTo>
                    <a:lnTo>
                      <a:pt x="309739" y="310562"/>
                    </a:lnTo>
                    <a:lnTo>
                      <a:pt x="363851" y="279082"/>
                    </a:lnTo>
                    <a:lnTo>
                      <a:pt x="363851" y="152888"/>
                    </a:lnTo>
                    <a:close/>
                    <a:moveTo>
                      <a:pt x="39363" y="68758"/>
                    </a:moveTo>
                    <a:cubicBezTo>
                      <a:pt x="28485" y="68758"/>
                      <a:pt x="19635" y="77502"/>
                      <a:pt x="19635" y="88364"/>
                    </a:cubicBezTo>
                    <a:cubicBezTo>
                      <a:pt x="19635" y="99225"/>
                      <a:pt x="28485" y="107969"/>
                      <a:pt x="39363" y="107969"/>
                    </a:cubicBezTo>
                    <a:cubicBezTo>
                      <a:pt x="50148" y="107969"/>
                      <a:pt x="58998" y="99225"/>
                      <a:pt x="58998" y="88364"/>
                    </a:cubicBezTo>
                    <a:cubicBezTo>
                      <a:pt x="58998" y="77502"/>
                      <a:pt x="50148" y="68758"/>
                      <a:pt x="39363" y="68758"/>
                    </a:cubicBezTo>
                    <a:close/>
                    <a:moveTo>
                      <a:pt x="245855" y="0"/>
                    </a:moveTo>
                    <a:lnTo>
                      <a:pt x="265491" y="0"/>
                    </a:lnTo>
                    <a:lnTo>
                      <a:pt x="265491" y="72900"/>
                    </a:lnTo>
                    <a:lnTo>
                      <a:pt x="373623" y="135951"/>
                    </a:lnTo>
                    <a:lnTo>
                      <a:pt x="481847" y="72900"/>
                    </a:lnTo>
                    <a:lnTo>
                      <a:pt x="481847" y="0"/>
                    </a:lnTo>
                    <a:lnTo>
                      <a:pt x="501482" y="0"/>
                    </a:lnTo>
                    <a:lnTo>
                      <a:pt x="501482" y="84222"/>
                    </a:lnTo>
                    <a:lnTo>
                      <a:pt x="383486" y="152888"/>
                    </a:lnTo>
                    <a:lnTo>
                      <a:pt x="383486" y="279082"/>
                    </a:lnTo>
                    <a:lnTo>
                      <a:pt x="491618" y="342041"/>
                    </a:lnTo>
                    <a:lnTo>
                      <a:pt x="533286" y="317097"/>
                    </a:lnTo>
                    <a:cubicBezTo>
                      <a:pt x="531903" y="313047"/>
                      <a:pt x="530981" y="308813"/>
                      <a:pt x="530981" y="304395"/>
                    </a:cubicBezTo>
                    <a:cubicBezTo>
                      <a:pt x="530981" y="282672"/>
                      <a:pt x="548588" y="265091"/>
                      <a:pt x="570344" y="265091"/>
                    </a:cubicBezTo>
                    <a:cubicBezTo>
                      <a:pt x="592007" y="265091"/>
                      <a:pt x="609614" y="282672"/>
                      <a:pt x="609614" y="304395"/>
                    </a:cubicBezTo>
                    <a:cubicBezTo>
                      <a:pt x="609614" y="326025"/>
                      <a:pt x="592007" y="343606"/>
                      <a:pt x="570344" y="343606"/>
                    </a:cubicBezTo>
                    <a:cubicBezTo>
                      <a:pt x="560203" y="343606"/>
                      <a:pt x="551077" y="339740"/>
                      <a:pt x="544163" y="333481"/>
                    </a:cubicBezTo>
                    <a:lnTo>
                      <a:pt x="501482" y="358977"/>
                    </a:lnTo>
                    <a:lnTo>
                      <a:pt x="501482" y="485172"/>
                    </a:lnTo>
                    <a:lnTo>
                      <a:pt x="565366" y="521622"/>
                    </a:lnTo>
                    <a:lnTo>
                      <a:pt x="555594" y="538742"/>
                    </a:lnTo>
                    <a:lnTo>
                      <a:pt x="491711" y="502200"/>
                    </a:lnTo>
                    <a:lnTo>
                      <a:pt x="431146" y="537546"/>
                    </a:lnTo>
                    <a:lnTo>
                      <a:pt x="383486" y="565252"/>
                    </a:lnTo>
                    <a:lnTo>
                      <a:pt x="383486" y="608697"/>
                    </a:lnTo>
                    <a:lnTo>
                      <a:pt x="363851" y="608697"/>
                    </a:lnTo>
                    <a:lnTo>
                      <a:pt x="363851" y="565252"/>
                    </a:lnTo>
                    <a:lnTo>
                      <a:pt x="255627" y="502292"/>
                    </a:lnTo>
                    <a:lnTo>
                      <a:pt x="156160" y="560281"/>
                    </a:lnTo>
                    <a:cubicBezTo>
                      <a:pt x="156805" y="563227"/>
                      <a:pt x="157359" y="566264"/>
                      <a:pt x="157359" y="569486"/>
                    </a:cubicBezTo>
                    <a:cubicBezTo>
                      <a:pt x="157359" y="591116"/>
                      <a:pt x="139659" y="608697"/>
                      <a:pt x="117996" y="608697"/>
                    </a:cubicBezTo>
                    <a:cubicBezTo>
                      <a:pt x="96333" y="608697"/>
                      <a:pt x="78633" y="591116"/>
                      <a:pt x="78633" y="569486"/>
                    </a:cubicBezTo>
                    <a:cubicBezTo>
                      <a:pt x="78633" y="547763"/>
                      <a:pt x="96333" y="530182"/>
                      <a:pt x="117996" y="530182"/>
                    </a:cubicBezTo>
                    <a:cubicBezTo>
                      <a:pt x="129427" y="530182"/>
                      <a:pt x="139659" y="535153"/>
                      <a:pt x="146850" y="542884"/>
                    </a:cubicBezTo>
                    <a:lnTo>
                      <a:pt x="245855" y="485264"/>
                    </a:lnTo>
                    <a:lnTo>
                      <a:pt x="245855" y="359070"/>
                    </a:lnTo>
                    <a:lnTo>
                      <a:pt x="191743" y="327590"/>
                    </a:lnTo>
                    <a:lnTo>
                      <a:pt x="137631" y="296110"/>
                    </a:lnTo>
                    <a:lnTo>
                      <a:pt x="24613" y="361923"/>
                    </a:lnTo>
                    <a:lnTo>
                      <a:pt x="14749" y="344987"/>
                    </a:lnTo>
                    <a:lnTo>
                      <a:pt x="127860" y="279082"/>
                    </a:lnTo>
                    <a:lnTo>
                      <a:pt x="127860" y="152704"/>
                    </a:lnTo>
                    <a:lnTo>
                      <a:pt x="67847" y="115241"/>
                    </a:lnTo>
                    <a:cubicBezTo>
                      <a:pt x="60657" y="122881"/>
                      <a:pt x="50609" y="127667"/>
                      <a:pt x="39363" y="127667"/>
                    </a:cubicBezTo>
                    <a:cubicBezTo>
                      <a:pt x="17607" y="127667"/>
                      <a:pt x="0" y="109994"/>
                      <a:pt x="0" y="88364"/>
                    </a:cubicBezTo>
                    <a:cubicBezTo>
                      <a:pt x="0" y="66733"/>
                      <a:pt x="17607" y="49060"/>
                      <a:pt x="39363" y="49060"/>
                    </a:cubicBezTo>
                    <a:cubicBezTo>
                      <a:pt x="61026" y="49060"/>
                      <a:pt x="78633" y="66733"/>
                      <a:pt x="78633" y="88364"/>
                    </a:cubicBezTo>
                    <a:cubicBezTo>
                      <a:pt x="78633" y="91677"/>
                      <a:pt x="78080" y="94899"/>
                      <a:pt x="77342" y="98028"/>
                    </a:cubicBezTo>
                    <a:lnTo>
                      <a:pt x="137815" y="135767"/>
                    </a:lnTo>
                    <a:lnTo>
                      <a:pt x="245855" y="7290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</p:sp>
          <p:sp>
            <p:nvSpPr>
              <p:cNvPr id="52" name="fertilization_288254"/>
              <p:cNvSpPr>
                <a:spLocks noChangeAspect="1"/>
              </p:cNvSpPr>
              <p:nvPr/>
            </p:nvSpPr>
            <p:spPr bwMode="auto">
              <a:xfrm>
                <a:off x="1531284" y="3396087"/>
                <a:ext cx="304843" cy="304382"/>
              </a:xfrm>
              <a:custGeom>
                <a:avLst/>
                <a:gdLst>
                  <a:gd name="connsiteX0" fmla="*/ 373273 h 605239"/>
                  <a:gd name="connsiteY0" fmla="*/ 373273 h 605239"/>
                  <a:gd name="connsiteX1" fmla="*/ 373273 h 605239"/>
                  <a:gd name="connsiteY1" fmla="*/ 373273 h 605239"/>
                  <a:gd name="connsiteX2" fmla="*/ 373273 h 605239"/>
                  <a:gd name="connsiteY2" fmla="*/ 373273 h 605239"/>
                  <a:gd name="connsiteX3" fmla="*/ 373273 h 605239"/>
                  <a:gd name="connsiteY3" fmla="*/ 373273 h 605239"/>
                  <a:gd name="connsiteX4" fmla="*/ 373273 h 605239"/>
                  <a:gd name="connsiteY4" fmla="*/ 373273 h 605239"/>
                  <a:gd name="connsiteX5" fmla="*/ 373273 h 605239"/>
                  <a:gd name="connsiteY5" fmla="*/ 373273 h 605239"/>
                  <a:gd name="connsiteX6" fmla="*/ 373273 h 605239"/>
                  <a:gd name="connsiteY6" fmla="*/ 373273 h 605239"/>
                  <a:gd name="connsiteX7" fmla="*/ 373273 h 605239"/>
                  <a:gd name="connsiteY7" fmla="*/ 373273 h 605239"/>
                  <a:gd name="connsiteX8" fmla="*/ 373273 h 605239"/>
                  <a:gd name="connsiteY8" fmla="*/ 373273 h 605239"/>
                  <a:gd name="connsiteX9" fmla="*/ 373273 h 605239"/>
                  <a:gd name="connsiteY9" fmla="*/ 373273 h 605239"/>
                  <a:gd name="connsiteX10" fmla="*/ 373273 h 605239"/>
                  <a:gd name="connsiteY10" fmla="*/ 373273 h 605239"/>
                  <a:gd name="connsiteX11" fmla="*/ 373273 h 605239"/>
                  <a:gd name="connsiteY11" fmla="*/ 373273 h 605239"/>
                  <a:gd name="connsiteX12" fmla="*/ 373273 h 605239"/>
                  <a:gd name="connsiteY12" fmla="*/ 373273 h 605239"/>
                  <a:gd name="connsiteX13" fmla="*/ 373273 h 605239"/>
                  <a:gd name="connsiteY13" fmla="*/ 373273 h 605239"/>
                  <a:gd name="connsiteX14" fmla="*/ 373273 h 605239"/>
                  <a:gd name="connsiteY14" fmla="*/ 373273 h 605239"/>
                  <a:gd name="connsiteX15" fmla="*/ 373273 h 605239"/>
                  <a:gd name="connsiteY15" fmla="*/ 373273 h 605239"/>
                  <a:gd name="connsiteX16" fmla="*/ 373273 h 605239"/>
                  <a:gd name="connsiteY16" fmla="*/ 373273 h 605239"/>
                  <a:gd name="connsiteX17" fmla="*/ 373273 h 605239"/>
                  <a:gd name="connsiteY17" fmla="*/ 373273 h 605239"/>
                  <a:gd name="connsiteX18" fmla="*/ 373273 h 605239"/>
                  <a:gd name="connsiteY18" fmla="*/ 373273 h 605239"/>
                  <a:gd name="connsiteX19" fmla="*/ 373273 h 605239"/>
                  <a:gd name="connsiteY19" fmla="*/ 373273 h 605239"/>
                  <a:gd name="connsiteX20" fmla="*/ 373273 h 605239"/>
                  <a:gd name="connsiteY20" fmla="*/ 373273 h 605239"/>
                  <a:gd name="connsiteX21" fmla="*/ 373273 h 605239"/>
                  <a:gd name="connsiteY21" fmla="*/ 373273 h 605239"/>
                  <a:gd name="connsiteX22" fmla="*/ 373273 h 605239"/>
                  <a:gd name="connsiteY22" fmla="*/ 373273 h 605239"/>
                  <a:gd name="connsiteX23" fmla="*/ 373273 h 605239"/>
                  <a:gd name="connsiteY23" fmla="*/ 373273 h 605239"/>
                  <a:gd name="connsiteX24" fmla="*/ 373273 h 605239"/>
                  <a:gd name="connsiteY24" fmla="*/ 373273 h 605239"/>
                  <a:gd name="connsiteX25" fmla="*/ 373273 h 605239"/>
                  <a:gd name="connsiteY25" fmla="*/ 373273 h 605239"/>
                  <a:gd name="connsiteX26" fmla="*/ 373273 h 605239"/>
                  <a:gd name="connsiteY26" fmla="*/ 373273 h 605239"/>
                  <a:gd name="connsiteX27" fmla="*/ 373273 h 605239"/>
                  <a:gd name="connsiteY27" fmla="*/ 373273 h 605239"/>
                  <a:gd name="connsiteX28" fmla="*/ 373273 h 605239"/>
                  <a:gd name="connsiteY28" fmla="*/ 373273 h 605239"/>
                  <a:gd name="connsiteX29" fmla="*/ 373273 h 605239"/>
                  <a:gd name="connsiteY29" fmla="*/ 373273 h 605239"/>
                  <a:gd name="connsiteX30" fmla="*/ 373273 h 605239"/>
                  <a:gd name="connsiteY30" fmla="*/ 373273 h 605239"/>
                  <a:gd name="connsiteX31" fmla="*/ 373273 h 605239"/>
                  <a:gd name="connsiteY31" fmla="*/ 373273 h 605239"/>
                  <a:gd name="connsiteX32" fmla="*/ 373273 h 605239"/>
                  <a:gd name="connsiteY32" fmla="*/ 373273 h 605239"/>
                  <a:gd name="connsiteX33" fmla="*/ 373273 h 605239"/>
                  <a:gd name="connsiteY33" fmla="*/ 373273 h 605239"/>
                  <a:gd name="connsiteX34" fmla="*/ 373273 h 605239"/>
                  <a:gd name="connsiteY34" fmla="*/ 373273 h 605239"/>
                  <a:gd name="connsiteX35" fmla="*/ 373273 h 605239"/>
                  <a:gd name="connsiteY35" fmla="*/ 373273 h 605239"/>
                  <a:gd name="connsiteX36" fmla="*/ 373273 h 605239"/>
                  <a:gd name="connsiteY36" fmla="*/ 373273 h 605239"/>
                  <a:gd name="connsiteX37" fmla="*/ 373273 h 605239"/>
                  <a:gd name="connsiteY37" fmla="*/ 373273 h 605239"/>
                  <a:gd name="connsiteX38" fmla="*/ 373273 h 605239"/>
                  <a:gd name="connsiteY38" fmla="*/ 373273 h 605239"/>
                  <a:gd name="connsiteX39" fmla="*/ 373273 h 605239"/>
                  <a:gd name="connsiteY39" fmla="*/ 373273 h 605239"/>
                  <a:gd name="connsiteX40" fmla="*/ 373273 h 605239"/>
                  <a:gd name="connsiteY40" fmla="*/ 373273 h 605239"/>
                  <a:gd name="connsiteX41" fmla="*/ 373273 h 605239"/>
                  <a:gd name="connsiteY41" fmla="*/ 373273 h 605239"/>
                  <a:gd name="connsiteX42" fmla="*/ 373273 h 605239"/>
                  <a:gd name="connsiteY42" fmla="*/ 373273 h 605239"/>
                  <a:gd name="connsiteX43" fmla="*/ 373273 h 605239"/>
                  <a:gd name="connsiteY43" fmla="*/ 373273 h 605239"/>
                  <a:gd name="connsiteX44" fmla="*/ 373273 h 605239"/>
                  <a:gd name="connsiteY44" fmla="*/ 373273 h 605239"/>
                  <a:gd name="connsiteX45" fmla="*/ 373273 h 605239"/>
                  <a:gd name="connsiteY45" fmla="*/ 373273 h 605239"/>
                  <a:gd name="connsiteX46" fmla="*/ 373273 h 605239"/>
                  <a:gd name="connsiteY46" fmla="*/ 373273 h 605239"/>
                  <a:gd name="connsiteX47" fmla="*/ 373273 h 605239"/>
                  <a:gd name="connsiteY47" fmla="*/ 373273 h 605239"/>
                  <a:gd name="connsiteX48" fmla="*/ 373273 h 605239"/>
                  <a:gd name="connsiteY48" fmla="*/ 373273 h 605239"/>
                  <a:gd name="connsiteX49" fmla="*/ 373273 h 605239"/>
                  <a:gd name="connsiteY49" fmla="*/ 373273 h 605239"/>
                  <a:gd name="connsiteX50" fmla="*/ 373273 h 605239"/>
                  <a:gd name="connsiteY50" fmla="*/ 373273 h 605239"/>
                  <a:gd name="connsiteX51" fmla="*/ 373273 h 605239"/>
                  <a:gd name="connsiteY51" fmla="*/ 373273 h 605239"/>
                  <a:gd name="connsiteX52" fmla="*/ 373273 h 605239"/>
                  <a:gd name="connsiteY52" fmla="*/ 373273 h 605239"/>
                  <a:gd name="connsiteX53" fmla="*/ 373273 h 605239"/>
                  <a:gd name="connsiteY53" fmla="*/ 373273 h 605239"/>
                  <a:gd name="connsiteX54" fmla="*/ 373273 h 605239"/>
                  <a:gd name="connsiteY54" fmla="*/ 373273 h 605239"/>
                  <a:gd name="connsiteX55" fmla="*/ 373273 h 605239"/>
                  <a:gd name="connsiteY55" fmla="*/ 373273 h 605239"/>
                  <a:gd name="connsiteX56" fmla="*/ 373273 h 605239"/>
                  <a:gd name="connsiteY56" fmla="*/ 373273 h 605239"/>
                  <a:gd name="connsiteX57" fmla="*/ 373273 h 605239"/>
                  <a:gd name="connsiteY57" fmla="*/ 373273 h 605239"/>
                  <a:gd name="connsiteX58" fmla="*/ 373273 h 605239"/>
                  <a:gd name="connsiteY58" fmla="*/ 373273 h 605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607639" h="606722">
                    <a:moveTo>
                      <a:pt x="260963" y="328645"/>
                    </a:moveTo>
                    <a:cubicBezTo>
                      <a:pt x="247435" y="328645"/>
                      <a:pt x="231058" y="336643"/>
                      <a:pt x="218241" y="349441"/>
                    </a:cubicBezTo>
                    <a:cubicBezTo>
                      <a:pt x="207560" y="360105"/>
                      <a:pt x="200173" y="373169"/>
                      <a:pt x="197948" y="385256"/>
                    </a:cubicBezTo>
                    <a:cubicBezTo>
                      <a:pt x="197236" y="389433"/>
                      <a:pt x="196079" y="399653"/>
                      <a:pt x="201686" y="405340"/>
                    </a:cubicBezTo>
                    <a:cubicBezTo>
                      <a:pt x="205335" y="408895"/>
                      <a:pt x="210853" y="409695"/>
                      <a:pt x="214859" y="409695"/>
                    </a:cubicBezTo>
                    <a:cubicBezTo>
                      <a:pt x="228388" y="409695"/>
                      <a:pt x="244764" y="401697"/>
                      <a:pt x="257581" y="388810"/>
                    </a:cubicBezTo>
                    <a:cubicBezTo>
                      <a:pt x="268262" y="378146"/>
                      <a:pt x="275649" y="365171"/>
                      <a:pt x="277874" y="352995"/>
                    </a:cubicBezTo>
                    <a:cubicBezTo>
                      <a:pt x="278586" y="348907"/>
                      <a:pt x="279744" y="338598"/>
                      <a:pt x="274136" y="332999"/>
                    </a:cubicBezTo>
                    <a:cubicBezTo>
                      <a:pt x="270487" y="329356"/>
                      <a:pt x="264969" y="328645"/>
                      <a:pt x="260963" y="328645"/>
                    </a:cubicBezTo>
                    <a:close/>
                    <a:moveTo>
                      <a:pt x="435776" y="137465"/>
                    </a:moveTo>
                    <a:cubicBezTo>
                      <a:pt x="410848" y="137465"/>
                      <a:pt x="390549" y="157733"/>
                      <a:pt x="390549" y="182624"/>
                    </a:cubicBezTo>
                    <a:cubicBezTo>
                      <a:pt x="390549" y="207515"/>
                      <a:pt x="410848" y="227783"/>
                      <a:pt x="435776" y="227783"/>
                    </a:cubicBezTo>
                    <a:cubicBezTo>
                      <a:pt x="460705" y="227783"/>
                      <a:pt x="481093" y="207515"/>
                      <a:pt x="481093" y="182624"/>
                    </a:cubicBezTo>
                    <a:cubicBezTo>
                      <a:pt x="481093" y="157733"/>
                      <a:pt x="460705" y="137465"/>
                      <a:pt x="435776" y="137465"/>
                    </a:cubicBezTo>
                    <a:close/>
                    <a:moveTo>
                      <a:pt x="435776" y="112129"/>
                    </a:moveTo>
                    <a:cubicBezTo>
                      <a:pt x="474771" y="112129"/>
                      <a:pt x="506377" y="143687"/>
                      <a:pt x="506377" y="182624"/>
                    </a:cubicBezTo>
                    <a:cubicBezTo>
                      <a:pt x="506377" y="221561"/>
                      <a:pt x="474771" y="253119"/>
                      <a:pt x="435776" y="253119"/>
                    </a:cubicBezTo>
                    <a:cubicBezTo>
                      <a:pt x="396782" y="253119"/>
                      <a:pt x="365176" y="221561"/>
                      <a:pt x="365176" y="182624"/>
                    </a:cubicBezTo>
                    <a:cubicBezTo>
                      <a:pt x="365176" y="143687"/>
                      <a:pt x="396782" y="112129"/>
                      <a:pt x="435776" y="112129"/>
                    </a:cubicBezTo>
                    <a:close/>
                    <a:moveTo>
                      <a:pt x="329142" y="25239"/>
                    </a:moveTo>
                    <a:cubicBezTo>
                      <a:pt x="294963" y="25239"/>
                      <a:pt x="261765" y="31994"/>
                      <a:pt x="230613" y="45146"/>
                    </a:cubicBezTo>
                    <a:cubicBezTo>
                      <a:pt x="200440" y="57855"/>
                      <a:pt x="173382" y="76074"/>
                      <a:pt x="150063" y="99358"/>
                    </a:cubicBezTo>
                    <a:cubicBezTo>
                      <a:pt x="126833" y="122553"/>
                      <a:pt x="108586" y="149570"/>
                      <a:pt x="95859" y="179697"/>
                    </a:cubicBezTo>
                    <a:cubicBezTo>
                      <a:pt x="82686" y="210802"/>
                      <a:pt x="75922" y="243951"/>
                      <a:pt x="75922" y="278077"/>
                    </a:cubicBezTo>
                    <a:cubicBezTo>
                      <a:pt x="75922" y="312204"/>
                      <a:pt x="82686" y="345353"/>
                      <a:pt x="95859" y="376457"/>
                    </a:cubicBezTo>
                    <a:cubicBezTo>
                      <a:pt x="108141" y="405518"/>
                      <a:pt x="125586" y="431735"/>
                      <a:pt x="147749" y="454397"/>
                    </a:cubicBezTo>
                    <a:cubicBezTo>
                      <a:pt x="151576" y="442044"/>
                      <a:pt x="158963" y="428002"/>
                      <a:pt x="176141" y="412095"/>
                    </a:cubicBezTo>
                    <a:cubicBezTo>
                      <a:pt x="165906" y="389877"/>
                      <a:pt x="175073" y="356728"/>
                      <a:pt x="200262" y="331578"/>
                    </a:cubicBezTo>
                    <a:cubicBezTo>
                      <a:pt x="218686" y="313181"/>
                      <a:pt x="241382" y="303317"/>
                      <a:pt x="260963" y="303317"/>
                    </a:cubicBezTo>
                    <a:cubicBezTo>
                      <a:pt x="273068" y="303317"/>
                      <a:pt x="284016" y="307138"/>
                      <a:pt x="292026" y="315136"/>
                    </a:cubicBezTo>
                    <a:cubicBezTo>
                      <a:pt x="312765" y="335843"/>
                      <a:pt x="305377" y="376902"/>
                      <a:pt x="275560" y="406673"/>
                    </a:cubicBezTo>
                    <a:cubicBezTo>
                      <a:pt x="257136" y="425070"/>
                      <a:pt x="234440" y="434934"/>
                      <a:pt x="214859" y="434934"/>
                    </a:cubicBezTo>
                    <a:cubicBezTo>
                      <a:pt x="207204" y="434934"/>
                      <a:pt x="199906" y="433424"/>
                      <a:pt x="193675" y="430224"/>
                    </a:cubicBezTo>
                    <a:cubicBezTo>
                      <a:pt x="174806" y="447732"/>
                      <a:pt x="171335" y="461240"/>
                      <a:pt x="169288" y="474127"/>
                    </a:cubicBezTo>
                    <a:cubicBezTo>
                      <a:pt x="187801" y="489235"/>
                      <a:pt x="208361" y="501588"/>
                      <a:pt x="230613" y="511008"/>
                    </a:cubicBezTo>
                    <a:cubicBezTo>
                      <a:pt x="261765" y="524161"/>
                      <a:pt x="294963" y="530826"/>
                      <a:pt x="329142" y="530826"/>
                    </a:cubicBezTo>
                    <a:cubicBezTo>
                      <a:pt x="363320" y="530826"/>
                      <a:pt x="396518" y="524161"/>
                      <a:pt x="427670" y="511008"/>
                    </a:cubicBezTo>
                    <a:cubicBezTo>
                      <a:pt x="457843" y="498299"/>
                      <a:pt x="484901" y="479992"/>
                      <a:pt x="508131" y="456797"/>
                    </a:cubicBezTo>
                    <a:cubicBezTo>
                      <a:pt x="531362" y="433601"/>
                      <a:pt x="549697" y="406585"/>
                      <a:pt x="562424" y="376457"/>
                    </a:cubicBezTo>
                    <a:cubicBezTo>
                      <a:pt x="575597" y="345353"/>
                      <a:pt x="582272" y="312204"/>
                      <a:pt x="582272" y="278077"/>
                    </a:cubicBezTo>
                    <a:cubicBezTo>
                      <a:pt x="582272" y="243951"/>
                      <a:pt x="575597" y="210802"/>
                      <a:pt x="562424" y="179697"/>
                    </a:cubicBezTo>
                    <a:cubicBezTo>
                      <a:pt x="549697" y="149570"/>
                      <a:pt x="531362" y="122553"/>
                      <a:pt x="508131" y="99358"/>
                    </a:cubicBezTo>
                    <a:cubicBezTo>
                      <a:pt x="484901" y="76074"/>
                      <a:pt x="457843" y="57855"/>
                      <a:pt x="427670" y="45146"/>
                    </a:cubicBezTo>
                    <a:cubicBezTo>
                      <a:pt x="396518" y="31994"/>
                      <a:pt x="363320" y="25239"/>
                      <a:pt x="329142" y="25239"/>
                    </a:cubicBezTo>
                    <a:close/>
                    <a:moveTo>
                      <a:pt x="329142" y="0"/>
                    </a:moveTo>
                    <a:cubicBezTo>
                      <a:pt x="482943" y="0"/>
                      <a:pt x="607639" y="124508"/>
                      <a:pt x="607639" y="278077"/>
                    </a:cubicBezTo>
                    <a:cubicBezTo>
                      <a:pt x="607639" y="431646"/>
                      <a:pt x="482943" y="556154"/>
                      <a:pt x="329142" y="556154"/>
                    </a:cubicBezTo>
                    <a:cubicBezTo>
                      <a:pt x="266660" y="556154"/>
                      <a:pt x="209073" y="535625"/>
                      <a:pt x="162613" y="500966"/>
                    </a:cubicBezTo>
                    <a:cubicBezTo>
                      <a:pt x="159408" y="508164"/>
                      <a:pt x="154335" y="515452"/>
                      <a:pt x="145702" y="522739"/>
                    </a:cubicBezTo>
                    <a:cubicBezTo>
                      <a:pt x="130749" y="535359"/>
                      <a:pt x="114105" y="538647"/>
                      <a:pt x="97906" y="541846"/>
                    </a:cubicBezTo>
                    <a:cubicBezTo>
                      <a:pt x="71471" y="547090"/>
                      <a:pt x="46372" y="552155"/>
                      <a:pt x="24120" y="599435"/>
                    </a:cubicBezTo>
                    <a:cubicBezTo>
                      <a:pt x="22073" y="603700"/>
                      <a:pt x="17712" y="606722"/>
                      <a:pt x="12639" y="606722"/>
                    </a:cubicBezTo>
                    <a:cubicBezTo>
                      <a:pt x="5696" y="606722"/>
                      <a:pt x="0" y="601034"/>
                      <a:pt x="0" y="594013"/>
                    </a:cubicBezTo>
                    <a:cubicBezTo>
                      <a:pt x="0" y="592147"/>
                      <a:pt x="445" y="590281"/>
                      <a:pt x="1246" y="588681"/>
                    </a:cubicBezTo>
                    <a:cubicBezTo>
                      <a:pt x="28927" y="529849"/>
                      <a:pt x="64440" y="522739"/>
                      <a:pt x="93011" y="517051"/>
                    </a:cubicBezTo>
                    <a:cubicBezTo>
                      <a:pt x="107162" y="514207"/>
                      <a:pt x="119445" y="511808"/>
                      <a:pt x="129325" y="503454"/>
                    </a:cubicBezTo>
                    <a:cubicBezTo>
                      <a:pt x="137068" y="496878"/>
                      <a:pt x="140094" y="491012"/>
                      <a:pt x="141785" y="483813"/>
                    </a:cubicBezTo>
                    <a:cubicBezTo>
                      <a:pt x="85801" y="432979"/>
                      <a:pt x="50644" y="359572"/>
                      <a:pt x="50644" y="278077"/>
                    </a:cubicBezTo>
                    <a:cubicBezTo>
                      <a:pt x="50644" y="124508"/>
                      <a:pt x="175340" y="0"/>
                      <a:pt x="32914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</p:sp>
          <p:sp>
            <p:nvSpPr>
              <p:cNvPr id="53" name="currencies-exchange_21005"/>
              <p:cNvSpPr>
                <a:spLocks noChangeAspect="1"/>
              </p:cNvSpPr>
              <p:nvPr/>
            </p:nvSpPr>
            <p:spPr bwMode="auto">
              <a:xfrm>
                <a:off x="3503926" y="4834047"/>
                <a:ext cx="313698" cy="309868"/>
              </a:xfrm>
              <a:custGeom>
                <a:avLst/>
                <a:gdLst>
                  <a:gd name="T0" fmla="*/ 503 w 934"/>
                  <a:gd name="T1" fmla="*/ 317 h 924"/>
                  <a:gd name="T2" fmla="*/ 503 w 934"/>
                  <a:gd name="T3" fmla="*/ 82 h 924"/>
                  <a:gd name="T4" fmla="*/ 786 w 934"/>
                  <a:gd name="T5" fmla="*/ 375 h 924"/>
                  <a:gd name="T6" fmla="*/ 503 w 934"/>
                  <a:gd name="T7" fmla="*/ 243 h 924"/>
                  <a:gd name="T8" fmla="*/ 120 w 934"/>
                  <a:gd name="T9" fmla="*/ 531 h 924"/>
                  <a:gd name="T10" fmla="*/ 397 w 934"/>
                  <a:gd name="T11" fmla="*/ 795 h 924"/>
                  <a:gd name="T12" fmla="*/ 514 w 934"/>
                  <a:gd name="T13" fmla="*/ 750 h 924"/>
                  <a:gd name="T14" fmla="*/ 397 w 934"/>
                  <a:gd name="T15" fmla="*/ 706 h 924"/>
                  <a:gd name="T16" fmla="*/ 787 w 934"/>
                  <a:gd name="T17" fmla="*/ 741 h 924"/>
                  <a:gd name="T18" fmla="*/ 640 w 934"/>
                  <a:gd name="T19" fmla="*/ 573 h 924"/>
                  <a:gd name="T20" fmla="*/ 660 w 934"/>
                  <a:gd name="T21" fmla="*/ 684 h 924"/>
                  <a:gd name="T22" fmla="*/ 725 w 934"/>
                  <a:gd name="T23" fmla="*/ 718 h 924"/>
                  <a:gd name="T24" fmla="*/ 672 w 934"/>
                  <a:gd name="T25" fmla="*/ 772 h 924"/>
                  <a:gd name="T26" fmla="*/ 763 w 934"/>
                  <a:gd name="T27" fmla="*/ 806 h 924"/>
                  <a:gd name="T28" fmla="*/ 810 w 934"/>
                  <a:gd name="T29" fmla="*/ 924 h 924"/>
                  <a:gd name="T30" fmla="*/ 904 w 934"/>
                  <a:gd name="T31" fmla="*/ 806 h 924"/>
                  <a:gd name="T32" fmla="*/ 816 w 934"/>
                  <a:gd name="T33" fmla="*/ 772 h 924"/>
                  <a:gd name="T34" fmla="*/ 912 w 934"/>
                  <a:gd name="T35" fmla="*/ 718 h 924"/>
                  <a:gd name="T36" fmla="*/ 868 w 934"/>
                  <a:gd name="T37" fmla="*/ 684 h 924"/>
                  <a:gd name="T38" fmla="*/ 878 w 934"/>
                  <a:gd name="T39" fmla="*/ 573 h 924"/>
                  <a:gd name="T40" fmla="*/ 104 w 934"/>
                  <a:gd name="T41" fmla="*/ 340 h 924"/>
                  <a:gd name="T42" fmla="*/ 30 w 934"/>
                  <a:gd name="T43" fmla="*/ 183 h 924"/>
                  <a:gd name="T44" fmla="*/ 32 w 934"/>
                  <a:gd name="T45" fmla="*/ 59 h 924"/>
                  <a:gd name="T46" fmla="*/ 104 w 934"/>
                  <a:gd name="T47" fmla="*/ 0 h 924"/>
                  <a:gd name="T48" fmla="*/ 126 w 934"/>
                  <a:gd name="T49" fmla="*/ 30 h 924"/>
                  <a:gd name="T50" fmla="*/ 221 w 934"/>
                  <a:gd name="T51" fmla="*/ 120 h 924"/>
                  <a:gd name="T52" fmla="*/ 172 w 934"/>
                  <a:gd name="T53" fmla="*/ 90 h 924"/>
                  <a:gd name="T54" fmla="*/ 126 w 934"/>
                  <a:gd name="T55" fmla="*/ 177 h 924"/>
                  <a:gd name="T56" fmla="*/ 229 w 934"/>
                  <a:gd name="T57" fmla="*/ 269 h 924"/>
                  <a:gd name="T58" fmla="*/ 126 w 934"/>
                  <a:gd name="T59" fmla="*/ 375 h 924"/>
                  <a:gd name="T60" fmla="*/ 104 w 934"/>
                  <a:gd name="T61" fmla="*/ 420 h 924"/>
                  <a:gd name="T62" fmla="*/ 13 w 934"/>
                  <a:gd name="T63" fmla="*/ 328 h 924"/>
                  <a:gd name="T64" fmla="*/ 41 w 934"/>
                  <a:gd name="T65" fmla="*/ 265 h 924"/>
                  <a:gd name="T66" fmla="*/ 104 w 934"/>
                  <a:gd name="T67" fmla="*/ 340 h 924"/>
                  <a:gd name="T68" fmla="*/ 180 w 934"/>
                  <a:gd name="T69" fmla="*/ 312 h 924"/>
                  <a:gd name="T70" fmla="*/ 167 w 934"/>
                  <a:gd name="T71" fmla="*/ 237 h 924"/>
                  <a:gd name="T72" fmla="*/ 126 w 934"/>
                  <a:gd name="T73" fmla="*/ 341 h 924"/>
                  <a:gd name="T74" fmla="*/ 104 w 934"/>
                  <a:gd name="T75" fmla="*/ 173 h 924"/>
                  <a:gd name="T76" fmla="*/ 61 w 934"/>
                  <a:gd name="T77" fmla="*/ 83 h 924"/>
                  <a:gd name="T78" fmla="*/ 63 w 934"/>
                  <a:gd name="T79" fmla="*/ 155 h 9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934" h="924">
                    <a:moveTo>
                      <a:pt x="503" y="243"/>
                    </a:moveTo>
                    <a:lnTo>
                      <a:pt x="503" y="317"/>
                    </a:lnTo>
                    <a:lnTo>
                      <a:pt x="385" y="199"/>
                    </a:lnTo>
                    <a:lnTo>
                      <a:pt x="503" y="82"/>
                    </a:lnTo>
                    <a:lnTo>
                      <a:pt x="503" y="155"/>
                    </a:lnTo>
                    <a:cubicBezTo>
                      <a:pt x="662" y="167"/>
                      <a:pt x="786" y="261"/>
                      <a:pt x="786" y="375"/>
                    </a:cubicBezTo>
                    <a:cubicBezTo>
                      <a:pt x="786" y="390"/>
                      <a:pt x="784" y="405"/>
                      <a:pt x="780" y="419"/>
                    </a:cubicBezTo>
                    <a:cubicBezTo>
                      <a:pt x="753" y="326"/>
                      <a:pt x="641" y="254"/>
                      <a:pt x="503" y="243"/>
                    </a:cubicBezTo>
                    <a:close/>
                    <a:moveTo>
                      <a:pt x="397" y="706"/>
                    </a:moveTo>
                    <a:cubicBezTo>
                      <a:pt x="259" y="696"/>
                      <a:pt x="147" y="624"/>
                      <a:pt x="120" y="531"/>
                    </a:cubicBezTo>
                    <a:cubicBezTo>
                      <a:pt x="116" y="545"/>
                      <a:pt x="114" y="560"/>
                      <a:pt x="114" y="575"/>
                    </a:cubicBezTo>
                    <a:cubicBezTo>
                      <a:pt x="114" y="689"/>
                      <a:pt x="238" y="783"/>
                      <a:pt x="397" y="795"/>
                    </a:cubicBezTo>
                    <a:lnTo>
                      <a:pt x="397" y="867"/>
                    </a:lnTo>
                    <a:lnTo>
                      <a:pt x="514" y="750"/>
                    </a:lnTo>
                    <a:lnTo>
                      <a:pt x="397" y="633"/>
                    </a:lnTo>
                    <a:lnTo>
                      <a:pt x="397" y="706"/>
                    </a:lnTo>
                    <a:lnTo>
                      <a:pt x="397" y="706"/>
                    </a:lnTo>
                    <a:close/>
                    <a:moveTo>
                      <a:pt x="787" y="741"/>
                    </a:moveTo>
                    <a:lnTo>
                      <a:pt x="695" y="573"/>
                    </a:lnTo>
                    <a:lnTo>
                      <a:pt x="640" y="573"/>
                    </a:lnTo>
                    <a:lnTo>
                      <a:pt x="705" y="684"/>
                    </a:lnTo>
                    <a:lnTo>
                      <a:pt x="660" y="684"/>
                    </a:lnTo>
                    <a:lnTo>
                      <a:pt x="660" y="718"/>
                    </a:lnTo>
                    <a:lnTo>
                      <a:pt x="725" y="718"/>
                    </a:lnTo>
                    <a:lnTo>
                      <a:pt x="757" y="772"/>
                    </a:lnTo>
                    <a:lnTo>
                      <a:pt x="672" y="772"/>
                    </a:lnTo>
                    <a:lnTo>
                      <a:pt x="672" y="806"/>
                    </a:lnTo>
                    <a:lnTo>
                      <a:pt x="763" y="806"/>
                    </a:lnTo>
                    <a:lnTo>
                      <a:pt x="763" y="924"/>
                    </a:lnTo>
                    <a:lnTo>
                      <a:pt x="810" y="924"/>
                    </a:lnTo>
                    <a:lnTo>
                      <a:pt x="810" y="806"/>
                    </a:lnTo>
                    <a:lnTo>
                      <a:pt x="904" y="806"/>
                    </a:lnTo>
                    <a:lnTo>
                      <a:pt x="904" y="772"/>
                    </a:lnTo>
                    <a:lnTo>
                      <a:pt x="816" y="772"/>
                    </a:lnTo>
                    <a:lnTo>
                      <a:pt x="848" y="718"/>
                    </a:lnTo>
                    <a:lnTo>
                      <a:pt x="912" y="718"/>
                    </a:lnTo>
                    <a:lnTo>
                      <a:pt x="912" y="684"/>
                    </a:lnTo>
                    <a:lnTo>
                      <a:pt x="868" y="684"/>
                    </a:lnTo>
                    <a:lnTo>
                      <a:pt x="934" y="573"/>
                    </a:lnTo>
                    <a:lnTo>
                      <a:pt x="878" y="573"/>
                    </a:lnTo>
                    <a:lnTo>
                      <a:pt x="787" y="741"/>
                    </a:lnTo>
                    <a:close/>
                    <a:moveTo>
                      <a:pt x="104" y="340"/>
                    </a:moveTo>
                    <a:lnTo>
                      <a:pt x="104" y="215"/>
                    </a:lnTo>
                    <a:cubicBezTo>
                      <a:pt x="71" y="209"/>
                      <a:pt x="46" y="198"/>
                      <a:pt x="30" y="183"/>
                    </a:cubicBezTo>
                    <a:cubicBezTo>
                      <a:pt x="14" y="169"/>
                      <a:pt x="6" y="148"/>
                      <a:pt x="6" y="122"/>
                    </a:cubicBezTo>
                    <a:cubicBezTo>
                      <a:pt x="6" y="99"/>
                      <a:pt x="15" y="78"/>
                      <a:pt x="32" y="59"/>
                    </a:cubicBezTo>
                    <a:cubicBezTo>
                      <a:pt x="49" y="41"/>
                      <a:pt x="73" y="31"/>
                      <a:pt x="104" y="31"/>
                    </a:cubicBezTo>
                    <a:lnTo>
                      <a:pt x="104" y="0"/>
                    </a:lnTo>
                    <a:lnTo>
                      <a:pt x="126" y="0"/>
                    </a:lnTo>
                    <a:lnTo>
                      <a:pt x="126" y="30"/>
                    </a:lnTo>
                    <a:cubicBezTo>
                      <a:pt x="156" y="32"/>
                      <a:pt x="180" y="41"/>
                      <a:pt x="196" y="57"/>
                    </a:cubicBezTo>
                    <a:cubicBezTo>
                      <a:pt x="212" y="73"/>
                      <a:pt x="221" y="94"/>
                      <a:pt x="221" y="120"/>
                    </a:cubicBezTo>
                    <a:lnTo>
                      <a:pt x="181" y="120"/>
                    </a:lnTo>
                    <a:cubicBezTo>
                      <a:pt x="180" y="108"/>
                      <a:pt x="177" y="98"/>
                      <a:pt x="172" y="90"/>
                    </a:cubicBezTo>
                    <a:cubicBezTo>
                      <a:pt x="162" y="74"/>
                      <a:pt x="147" y="66"/>
                      <a:pt x="126" y="66"/>
                    </a:cubicBezTo>
                    <a:lnTo>
                      <a:pt x="126" y="177"/>
                    </a:lnTo>
                    <a:cubicBezTo>
                      <a:pt x="161" y="187"/>
                      <a:pt x="185" y="197"/>
                      <a:pt x="198" y="205"/>
                    </a:cubicBezTo>
                    <a:cubicBezTo>
                      <a:pt x="219" y="220"/>
                      <a:pt x="229" y="241"/>
                      <a:pt x="229" y="269"/>
                    </a:cubicBezTo>
                    <a:cubicBezTo>
                      <a:pt x="229" y="310"/>
                      <a:pt x="216" y="339"/>
                      <a:pt x="189" y="356"/>
                    </a:cubicBezTo>
                    <a:cubicBezTo>
                      <a:pt x="175" y="366"/>
                      <a:pt x="153" y="372"/>
                      <a:pt x="126" y="375"/>
                    </a:cubicBezTo>
                    <a:lnTo>
                      <a:pt x="126" y="420"/>
                    </a:lnTo>
                    <a:lnTo>
                      <a:pt x="104" y="420"/>
                    </a:lnTo>
                    <a:lnTo>
                      <a:pt x="104" y="375"/>
                    </a:lnTo>
                    <a:cubicBezTo>
                      <a:pt x="59" y="372"/>
                      <a:pt x="29" y="356"/>
                      <a:pt x="13" y="328"/>
                    </a:cubicBezTo>
                    <a:cubicBezTo>
                      <a:pt x="4" y="312"/>
                      <a:pt x="0" y="291"/>
                      <a:pt x="0" y="265"/>
                    </a:cubicBezTo>
                    <a:lnTo>
                      <a:pt x="41" y="265"/>
                    </a:lnTo>
                    <a:cubicBezTo>
                      <a:pt x="42" y="286"/>
                      <a:pt x="45" y="301"/>
                      <a:pt x="51" y="311"/>
                    </a:cubicBezTo>
                    <a:cubicBezTo>
                      <a:pt x="60" y="328"/>
                      <a:pt x="78" y="338"/>
                      <a:pt x="104" y="340"/>
                    </a:cubicBezTo>
                    <a:close/>
                    <a:moveTo>
                      <a:pt x="126" y="341"/>
                    </a:moveTo>
                    <a:cubicBezTo>
                      <a:pt x="152" y="340"/>
                      <a:pt x="170" y="330"/>
                      <a:pt x="180" y="312"/>
                    </a:cubicBezTo>
                    <a:cubicBezTo>
                      <a:pt x="185" y="303"/>
                      <a:pt x="188" y="293"/>
                      <a:pt x="188" y="281"/>
                    </a:cubicBezTo>
                    <a:cubicBezTo>
                      <a:pt x="188" y="261"/>
                      <a:pt x="181" y="247"/>
                      <a:pt x="167" y="237"/>
                    </a:cubicBezTo>
                    <a:cubicBezTo>
                      <a:pt x="158" y="231"/>
                      <a:pt x="145" y="226"/>
                      <a:pt x="126" y="220"/>
                    </a:cubicBezTo>
                    <a:lnTo>
                      <a:pt x="126" y="341"/>
                    </a:lnTo>
                    <a:lnTo>
                      <a:pt x="126" y="341"/>
                    </a:lnTo>
                    <a:close/>
                    <a:moveTo>
                      <a:pt x="104" y="173"/>
                    </a:moveTo>
                    <a:lnTo>
                      <a:pt x="104" y="65"/>
                    </a:lnTo>
                    <a:cubicBezTo>
                      <a:pt x="84" y="66"/>
                      <a:pt x="69" y="72"/>
                      <a:pt x="61" y="83"/>
                    </a:cubicBezTo>
                    <a:cubicBezTo>
                      <a:pt x="52" y="95"/>
                      <a:pt x="48" y="107"/>
                      <a:pt x="48" y="119"/>
                    </a:cubicBezTo>
                    <a:cubicBezTo>
                      <a:pt x="48" y="135"/>
                      <a:pt x="53" y="146"/>
                      <a:pt x="63" y="155"/>
                    </a:cubicBezTo>
                    <a:cubicBezTo>
                      <a:pt x="73" y="164"/>
                      <a:pt x="87" y="170"/>
                      <a:pt x="104" y="173"/>
                    </a:cubicBez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</p:sp>
          <p:sp>
            <p:nvSpPr>
              <p:cNvPr id="55" name="production-plant_20557"/>
              <p:cNvSpPr>
                <a:spLocks noChangeAspect="1"/>
              </p:cNvSpPr>
              <p:nvPr/>
            </p:nvSpPr>
            <p:spPr bwMode="auto">
              <a:xfrm>
                <a:off x="4336928" y="3739260"/>
                <a:ext cx="316657" cy="250978"/>
              </a:xfrm>
              <a:custGeom>
                <a:avLst/>
                <a:gdLst>
                  <a:gd name="connsiteX0" fmla="*/ 10869 w 607286"/>
                  <a:gd name="connsiteY0" fmla="*/ 454738 h 481327"/>
                  <a:gd name="connsiteX1" fmla="*/ 10869 w 607286"/>
                  <a:gd name="connsiteY1" fmla="*/ 470610 h 481327"/>
                  <a:gd name="connsiteX2" fmla="*/ 596553 w 607286"/>
                  <a:gd name="connsiteY2" fmla="*/ 470610 h 481327"/>
                  <a:gd name="connsiteX3" fmla="*/ 596553 w 607286"/>
                  <a:gd name="connsiteY3" fmla="*/ 454738 h 481327"/>
                  <a:gd name="connsiteX4" fmla="*/ 572914 w 607286"/>
                  <a:gd name="connsiteY4" fmla="*/ 454738 h 481327"/>
                  <a:gd name="connsiteX5" fmla="*/ 252017 w 607286"/>
                  <a:gd name="connsiteY5" fmla="*/ 454738 h 481327"/>
                  <a:gd name="connsiteX6" fmla="*/ 73635 w 607286"/>
                  <a:gd name="connsiteY6" fmla="*/ 454738 h 481327"/>
                  <a:gd name="connsiteX7" fmla="*/ 34508 w 607286"/>
                  <a:gd name="connsiteY7" fmla="*/ 454738 h 481327"/>
                  <a:gd name="connsiteX8" fmla="*/ 418806 w 607286"/>
                  <a:gd name="connsiteY8" fmla="*/ 263209 h 481327"/>
                  <a:gd name="connsiteX9" fmla="*/ 484996 w 607286"/>
                  <a:gd name="connsiteY9" fmla="*/ 263209 h 481327"/>
                  <a:gd name="connsiteX10" fmla="*/ 484996 w 607286"/>
                  <a:gd name="connsiteY10" fmla="*/ 317827 h 481327"/>
                  <a:gd name="connsiteX11" fmla="*/ 418806 w 607286"/>
                  <a:gd name="connsiteY11" fmla="*/ 317827 h 481327"/>
                  <a:gd name="connsiteX12" fmla="*/ 303361 w 607286"/>
                  <a:gd name="connsiteY12" fmla="*/ 263209 h 481327"/>
                  <a:gd name="connsiteX13" fmla="*/ 369551 w 607286"/>
                  <a:gd name="connsiteY13" fmla="*/ 263209 h 481327"/>
                  <a:gd name="connsiteX14" fmla="*/ 369551 w 607286"/>
                  <a:gd name="connsiteY14" fmla="*/ 317827 h 481327"/>
                  <a:gd name="connsiteX15" fmla="*/ 303361 w 607286"/>
                  <a:gd name="connsiteY15" fmla="*/ 317827 h 481327"/>
                  <a:gd name="connsiteX16" fmla="*/ 84504 w 607286"/>
                  <a:gd name="connsiteY16" fmla="*/ 263184 h 481327"/>
                  <a:gd name="connsiteX17" fmla="*/ 84504 w 607286"/>
                  <a:gd name="connsiteY17" fmla="*/ 444020 h 481327"/>
                  <a:gd name="connsiteX18" fmla="*/ 241148 w 607286"/>
                  <a:gd name="connsiteY18" fmla="*/ 444020 h 481327"/>
                  <a:gd name="connsiteX19" fmla="*/ 241148 w 607286"/>
                  <a:gd name="connsiteY19" fmla="*/ 263184 h 481327"/>
                  <a:gd name="connsiteX20" fmla="*/ 407982 w 607286"/>
                  <a:gd name="connsiteY20" fmla="*/ 252466 h 481327"/>
                  <a:gd name="connsiteX21" fmla="*/ 407982 w 607286"/>
                  <a:gd name="connsiteY21" fmla="*/ 328708 h 481327"/>
                  <a:gd name="connsiteX22" fmla="*/ 495882 w 607286"/>
                  <a:gd name="connsiteY22" fmla="*/ 328708 h 481327"/>
                  <a:gd name="connsiteX23" fmla="*/ 495882 w 607286"/>
                  <a:gd name="connsiteY23" fmla="*/ 252466 h 481327"/>
                  <a:gd name="connsiteX24" fmla="*/ 292503 w 607286"/>
                  <a:gd name="connsiteY24" fmla="*/ 252466 h 481327"/>
                  <a:gd name="connsiteX25" fmla="*/ 292503 w 607286"/>
                  <a:gd name="connsiteY25" fmla="*/ 328708 h 481327"/>
                  <a:gd name="connsiteX26" fmla="*/ 380267 w 607286"/>
                  <a:gd name="connsiteY26" fmla="*/ 328708 h 481327"/>
                  <a:gd name="connsiteX27" fmla="*/ 380267 w 607286"/>
                  <a:gd name="connsiteY27" fmla="*/ 252466 h 481327"/>
                  <a:gd name="connsiteX28" fmla="*/ 39799 w 607286"/>
                  <a:gd name="connsiteY28" fmla="*/ 110999 h 481327"/>
                  <a:gd name="connsiteX29" fmla="*/ 246556 w 607286"/>
                  <a:gd name="connsiteY29" fmla="*/ 110999 h 481327"/>
                  <a:gd name="connsiteX30" fmla="*/ 246556 w 607286"/>
                  <a:gd name="connsiteY30" fmla="*/ 121866 h 481327"/>
                  <a:gd name="connsiteX31" fmla="*/ 39799 w 607286"/>
                  <a:gd name="connsiteY31" fmla="*/ 121866 h 481327"/>
                  <a:gd name="connsiteX32" fmla="*/ 292503 w 607286"/>
                  <a:gd name="connsiteY32" fmla="*/ 0 h 481327"/>
                  <a:gd name="connsiteX33" fmla="*/ 380403 w 607286"/>
                  <a:gd name="connsiteY33" fmla="*/ 0 h 481327"/>
                  <a:gd name="connsiteX34" fmla="*/ 380403 w 607286"/>
                  <a:gd name="connsiteY34" fmla="*/ 157232 h 481327"/>
                  <a:gd name="connsiteX35" fmla="*/ 407982 w 607286"/>
                  <a:gd name="connsiteY35" fmla="*/ 157232 h 481327"/>
                  <a:gd name="connsiteX36" fmla="*/ 407982 w 607286"/>
                  <a:gd name="connsiteY36" fmla="*/ 0 h 481327"/>
                  <a:gd name="connsiteX37" fmla="*/ 495882 w 607286"/>
                  <a:gd name="connsiteY37" fmla="*/ 0 h 481327"/>
                  <a:gd name="connsiteX38" fmla="*/ 495882 w 607286"/>
                  <a:gd name="connsiteY38" fmla="*/ 157232 h 481327"/>
                  <a:gd name="connsiteX39" fmla="*/ 572914 w 607286"/>
                  <a:gd name="connsiteY39" fmla="*/ 157232 h 481327"/>
                  <a:gd name="connsiteX40" fmla="*/ 572914 w 607286"/>
                  <a:gd name="connsiteY40" fmla="*/ 443885 h 481327"/>
                  <a:gd name="connsiteX41" fmla="*/ 607286 w 607286"/>
                  <a:gd name="connsiteY41" fmla="*/ 443885 h 481327"/>
                  <a:gd name="connsiteX42" fmla="*/ 607286 w 607286"/>
                  <a:gd name="connsiteY42" fmla="*/ 481327 h 481327"/>
                  <a:gd name="connsiteX43" fmla="*/ 0 w 607286"/>
                  <a:gd name="connsiteY43" fmla="*/ 481327 h 481327"/>
                  <a:gd name="connsiteX44" fmla="*/ 0 w 607286"/>
                  <a:gd name="connsiteY44" fmla="*/ 443885 h 481327"/>
                  <a:gd name="connsiteX45" fmla="*/ 34508 w 607286"/>
                  <a:gd name="connsiteY45" fmla="*/ 443885 h 481327"/>
                  <a:gd name="connsiteX46" fmla="*/ 34508 w 607286"/>
                  <a:gd name="connsiteY46" fmla="*/ 157232 h 481327"/>
                  <a:gd name="connsiteX47" fmla="*/ 292503 w 607286"/>
                  <a:gd name="connsiteY47" fmla="*/ 157232 h 4813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07286" h="481327">
                    <a:moveTo>
                      <a:pt x="10869" y="454738"/>
                    </a:moveTo>
                    <a:lnTo>
                      <a:pt x="10869" y="470610"/>
                    </a:lnTo>
                    <a:lnTo>
                      <a:pt x="596553" y="470610"/>
                    </a:lnTo>
                    <a:lnTo>
                      <a:pt x="596553" y="454738"/>
                    </a:lnTo>
                    <a:lnTo>
                      <a:pt x="572914" y="454738"/>
                    </a:lnTo>
                    <a:lnTo>
                      <a:pt x="252017" y="454738"/>
                    </a:lnTo>
                    <a:lnTo>
                      <a:pt x="73635" y="454738"/>
                    </a:lnTo>
                    <a:lnTo>
                      <a:pt x="34508" y="454738"/>
                    </a:lnTo>
                    <a:close/>
                    <a:moveTo>
                      <a:pt x="418806" y="263209"/>
                    </a:moveTo>
                    <a:lnTo>
                      <a:pt x="484996" y="263209"/>
                    </a:lnTo>
                    <a:lnTo>
                      <a:pt x="484996" y="317827"/>
                    </a:lnTo>
                    <a:lnTo>
                      <a:pt x="418806" y="317827"/>
                    </a:lnTo>
                    <a:close/>
                    <a:moveTo>
                      <a:pt x="303361" y="263209"/>
                    </a:moveTo>
                    <a:lnTo>
                      <a:pt x="369551" y="263209"/>
                    </a:lnTo>
                    <a:lnTo>
                      <a:pt x="369551" y="317827"/>
                    </a:lnTo>
                    <a:lnTo>
                      <a:pt x="303361" y="317827"/>
                    </a:lnTo>
                    <a:close/>
                    <a:moveTo>
                      <a:pt x="84504" y="263184"/>
                    </a:moveTo>
                    <a:lnTo>
                      <a:pt x="84504" y="444020"/>
                    </a:lnTo>
                    <a:lnTo>
                      <a:pt x="241148" y="444020"/>
                    </a:lnTo>
                    <a:lnTo>
                      <a:pt x="241148" y="263184"/>
                    </a:lnTo>
                    <a:close/>
                    <a:moveTo>
                      <a:pt x="407982" y="252466"/>
                    </a:moveTo>
                    <a:lnTo>
                      <a:pt x="407982" y="328708"/>
                    </a:lnTo>
                    <a:lnTo>
                      <a:pt x="495882" y="328708"/>
                    </a:lnTo>
                    <a:lnTo>
                      <a:pt x="495882" y="252466"/>
                    </a:lnTo>
                    <a:close/>
                    <a:moveTo>
                      <a:pt x="292503" y="252466"/>
                    </a:moveTo>
                    <a:lnTo>
                      <a:pt x="292503" y="328708"/>
                    </a:lnTo>
                    <a:lnTo>
                      <a:pt x="380267" y="328708"/>
                    </a:lnTo>
                    <a:lnTo>
                      <a:pt x="380267" y="252466"/>
                    </a:lnTo>
                    <a:close/>
                    <a:moveTo>
                      <a:pt x="39799" y="110999"/>
                    </a:moveTo>
                    <a:lnTo>
                      <a:pt x="246556" y="110999"/>
                    </a:lnTo>
                    <a:lnTo>
                      <a:pt x="246556" y="121866"/>
                    </a:lnTo>
                    <a:lnTo>
                      <a:pt x="39799" y="121866"/>
                    </a:lnTo>
                    <a:close/>
                    <a:moveTo>
                      <a:pt x="292503" y="0"/>
                    </a:moveTo>
                    <a:lnTo>
                      <a:pt x="380403" y="0"/>
                    </a:lnTo>
                    <a:lnTo>
                      <a:pt x="380403" y="157232"/>
                    </a:lnTo>
                    <a:lnTo>
                      <a:pt x="407982" y="157232"/>
                    </a:lnTo>
                    <a:lnTo>
                      <a:pt x="407982" y="0"/>
                    </a:lnTo>
                    <a:lnTo>
                      <a:pt x="495882" y="0"/>
                    </a:lnTo>
                    <a:lnTo>
                      <a:pt x="495882" y="157232"/>
                    </a:lnTo>
                    <a:lnTo>
                      <a:pt x="572914" y="157232"/>
                    </a:lnTo>
                    <a:lnTo>
                      <a:pt x="572914" y="443885"/>
                    </a:lnTo>
                    <a:lnTo>
                      <a:pt x="607286" y="443885"/>
                    </a:lnTo>
                    <a:lnTo>
                      <a:pt x="607286" y="481327"/>
                    </a:lnTo>
                    <a:lnTo>
                      <a:pt x="0" y="481327"/>
                    </a:lnTo>
                    <a:lnTo>
                      <a:pt x="0" y="443885"/>
                    </a:lnTo>
                    <a:lnTo>
                      <a:pt x="34508" y="443885"/>
                    </a:lnTo>
                    <a:lnTo>
                      <a:pt x="34508" y="157232"/>
                    </a:lnTo>
                    <a:lnTo>
                      <a:pt x="292503" y="15723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</p:sp>
        </p:grpSp>
        <p:sp>
          <p:nvSpPr>
            <p:cNvPr id="98" name="microscope_71425"/>
            <p:cNvSpPr>
              <a:spLocks noChangeAspect="1"/>
            </p:cNvSpPr>
            <p:nvPr/>
          </p:nvSpPr>
          <p:spPr bwMode="auto">
            <a:xfrm>
              <a:off x="2116667" y="4698071"/>
              <a:ext cx="278582" cy="249137"/>
            </a:xfrm>
            <a:custGeom>
              <a:avLst/>
              <a:gdLst>
                <a:gd name="connsiteX0" fmla="*/ 203511 w 607503"/>
                <a:gd name="connsiteY0" fmla="*/ 223956 h 543292"/>
                <a:gd name="connsiteX1" fmla="*/ 169342 w 607503"/>
                <a:gd name="connsiteY1" fmla="*/ 258160 h 543292"/>
                <a:gd name="connsiteX2" fmla="*/ 203511 w 607503"/>
                <a:gd name="connsiteY2" fmla="*/ 292272 h 543292"/>
                <a:gd name="connsiteX3" fmla="*/ 237773 w 607503"/>
                <a:gd name="connsiteY3" fmla="*/ 258160 h 543292"/>
                <a:gd name="connsiteX4" fmla="*/ 203511 w 607503"/>
                <a:gd name="connsiteY4" fmla="*/ 223956 h 543292"/>
                <a:gd name="connsiteX5" fmla="*/ 136844 w 607503"/>
                <a:gd name="connsiteY5" fmla="*/ 54415 h 543292"/>
                <a:gd name="connsiteX6" fmla="*/ 428395 w 607503"/>
                <a:gd name="connsiteY6" fmla="*/ 252691 h 543292"/>
                <a:gd name="connsiteX7" fmla="*/ 537123 w 607503"/>
                <a:gd name="connsiteY7" fmla="*/ 252691 h 543292"/>
                <a:gd name="connsiteX8" fmla="*/ 564421 w 607503"/>
                <a:gd name="connsiteY8" fmla="*/ 280037 h 543292"/>
                <a:gd name="connsiteX9" fmla="*/ 556343 w 607503"/>
                <a:gd name="connsiteY9" fmla="*/ 299688 h 543292"/>
                <a:gd name="connsiteX10" fmla="*/ 544365 w 607503"/>
                <a:gd name="connsiteY10" fmla="*/ 306269 h 543292"/>
                <a:gd name="connsiteX11" fmla="*/ 563863 w 607503"/>
                <a:gd name="connsiteY11" fmla="*/ 342791 h 543292"/>
                <a:gd name="connsiteX12" fmla="*/ 534708 w 607503"/>
                <a:gd name="connsiteY12" fmla="*/ 374308 h 543292"/>
                <a:gd name="connsiteX13" fmla="*/ 492090 w 607503"/>
                <a:gd name="connsiteY13" fmla="*/ 380148 h 543292"/>
                <a:gd name="connsiteX14" fmla="*/ 453557 w 607503"/>
                <a:gd name="connsiteY14" fmla="*/ 307845 h 543292"/>
                <a:gd name="connsiteX15" fmla="*/ 429137 w 607503"/>
                <a:gd name="connsiteY15" fmla="*/ 307845 h 543292"/>
                <a:gd name="connsiteX16" fmla="*/ 429137 w 607503"/>
                <a:gd name="connsiteY16" fmla="*/ 362906 h 543292"/>
                <a:gd name="connsiteX17" fmla="*/ 369620 w 607503"/>
                <a:gd name="connsiteY17" fmla="*/ 384134 h 543292"/>
                <a:gd name="connsiteX18" fmla="*/ 310196 w 607503"/>
                <a:gd name="connsiteY18" fmla="*/ 362906 h 543292"/>
                <a:gd name="connsiteX19" fmla="*/ 310196 w 607503"/>
                <a:gd name="connsiteY19" fmla="*/ 307753 h 543292"/>
                <a:gd name="connsiteX20" fmla="*/ 244551 w 607503"/>
                <a:gd name="connsiteY20" fmla="*/ 307753 h 543292"/>
                <a:gd name="connsiteX21" fmla="*/ 204347 w 607503"/>
                <a:gd name="connsiteY21" fmla="*/ 322769 h 543292"/>
                <a:gd name="connsiteX22" fmla="*/ 197383 w 607503"/>
                <a:gd name="connsiteY22" fmla="*/ 364853 h 543292"/>
                <a:gd name="connsiteX23" fmla="*/ 197383 w 607503"/>
                <a:gd name="connsiteY23" fmla="*/ 461627 h 543292"/>
                <a:gd name="connsiteX24" fmla="*/ 566742 w 607503"/>
                <a:gd name="connsiteY24" fmla="*/ 461905 h 543292"/>
                <a:gd name="connsiteX25" fmla="*/ 607503 w 607503"/>
                <a:gd name="connsiteY25" fmla="*/ 502599 h 543292"/>
                <a:gd name="connsiteX26" fmla="*/ 566742 w 607503"/>
                <a:gd name="connsiteY26" fmla="*/ 543292 h 543292"/>
                <a:gd name="connsiteX27" fmla="*/ 197661 w 607503"/>
                <a:gd name="connsiteY27" fmla="*/ 543292 h 543292"/>
                <a:gd name="connsiteX28" fmla="*/ 115767 w 607503"/>
                <a:gd name="connsiteY28" fmla="*/ 461627 h 543292"/>
                <a:gd name="connsiteX29" fmla="*/ 115767 w 607503"/>
                <a:gd name="connsiteY29" fmla="*/ 364853 h 543292"/>
                <a:gd name="connsiteX30" fmla="*/ 132295 w 607503"/>
                <a:gd name="connsiteY30" fmla="*/ 282354 h 543292"/>
                <a:gd name="connsiteX31" fmla="*/ 139444 w 607503"/>
                <a:gd name="connsiteY31" fmla="*/ 265298 h 543292"/>
                <a:gd name="connsiteX32" fmla="*/ 138794 w 607503"/>
                <a:gd name="connsiteY32" fmla="*/ 258160 h 543292"/>
                <a:gd name="connsiteX33" fmla="*/ 163585 w 607503"/>
                <a:gd name="connsiteY33" fmla="*/ 207549 h 543292"/>
                <a:gd name="connsiteX34" fmla="*/ 171199 w 607503"/>
                <a:gd name="connsiteY34" fmla="*/ 189380 h 543292"/>
                <a:gd name="connsiteX35" fmla="*/ 84755 w 607503"/>
                <a:gd name="connsiteY35" fmla="*/ 130611 h 543292"/>
                <a:gd name="connsiteX36" fmla="*/ 43836 w 607503"/>
                <a:gd name="connsiteY36" fmla="*/ 454 h 543292"/>
                <a:gd name="connsiteX37" fmla="*/ 63510 w 607503"/>
                <a:gd name="connsiteY37" fmla="*/ 4567 h 543292"/>
                <a:gd name="connsiteX38" fmla="*/ 105854 w 607503"/>
                <a:gd name="connsiteY38" fmla="*/ 33304 h 543292"/>
                <a:gd name="connsiteX39" fmla="*/ 53760 w 607503"/>
                <a:gd name="connsiteY39" fmla="*/ 109597 h 543292"/>
                <a:gd name="connsiteX40" fmla="*/ 11509 w 607503"/>
                <a:gd name="connsiteY40" fmla="*/ 80860 h 543292"/>
                <a:gd name="connsiteX41" fmla="*/ 459 w 607503"/>
                <a:gd name="connsiteY41" fmla="*/ 63989 h 543292"/>
                <a:gd name="connsiteX42" fmla="*/ 4545 w 607503"/>
                <a:gd name="connsiteY42" fmla="*/ 44336 h 543292"/>
                <a:gd name="connsiteX43" fmla="*/ 27017 w 607503"/>
                <a:gd name="connsiteY43" fmla="*/ 11427 h 543292"/>
                <a:gd name="connsiteX44" fmla="*/ 43836 w 607503"/>
                <a:gd name="connsiteY44" fmla="*/ 454 h 543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607503" h="543292">
                  <a:moveTo>
                    <a:pt x="203511" y="223956"/>
                  </a:moveTo>
                  <a:cubicBezTo>
                    <a:pt x="184662" y="223956"/>
                    <a:pt x="169342" y="239250"/>
                    <a:pt x="169342" y="258160"/>
                  </a:cubicBezTo>
                  <a:cubicBezTo>
                    <a:pt x="169342" y="276978"/>
                    <a:pt x="184662" y="292272"/>
                    <a:pt x="203511" y="292272"/>
                  </a:cubicBezTo>
                  <a:cubicBezTo>
                    <a:pt x="222359" y="292272"/>
                    <a:pt x="237773" y="276978"/>
                    <a:pt x="237773" y="258160"/>
                  </a:cubicBezTo>
                  <a:cubicBezTo>
                    <a:pt x="237773" y="239250"/>
                    <a:pt x="222359" y="223956"/>
                    <a:pt x="203511" y="223956"/>
                  </a:cubicBezTo>
                  <a:close/>
                  <a:moveTo>
                    <a:pt x="136844" y="54415"/>
                  </a:moveTo>
                  <a:lnTo>
                    <a:pt x="428395" y="252691"/>
                  </a:lnTo>
                  <a:lnTo>
                    <a:pt x="537123" y="252691"/>
                  </a:lnTo>
                  <a:cubicBezTo>
                    <a:pt x="552257" y="252691"/>
                    <a:pt x="564421" y="264927"/>
                    <a:pt x="564421" y="280037"/>
                  </a:cubicBezTo>
                  <a:cubicBezTo>
                    <a:pt x="564421" y="287452"/>
                    <a:pt x="561542" y="294497"/>
                    <a:pt x="556343" y="299688"/>
                  </a:cubicBezTo>
                  <a:cubicBezTo>
                    <a:pt x="553000" y="303025"/>
                    <a:pt x="548822" y="304972"/>
                    <a:pt x="544365" y="306269"/>
                  </a:cubicBezTo>
                  <a:lnTo>
                    <a:pt x="563863" y="342791"/>
                  </a:lnTo>
                  <a:cubicBezTo>
                    <a:pt x="567577" y="349836"/>
                    <a:pt x="554486" y="363926"/>
                    <a:pt x="534708" y="374308"/>
                  </a:cubicBezTo>
                  <a:cubicBezTo>
                    <a:pt x="514838" y="384597"/>
                    <a:pt x="495804" y="387193"/>
                    <a:pt x="492090" y="380148"/>
                  </a:cubicBezTo>
                  <a:lnTo>
                    <a:pt x="453557" y="307845"/>
                  </a:lnTo>
                  <a:lnTo>
                    <a:pt x="429137" y="307845"/>
                  </a:lnTo>
                  <a:lnTo>
                    <a:pt x="429137" y="362906"/>
                  </a:lnTo>
                  <a:cubicBezTo>
                    <a:pt x="429137" y="374679"/>
                    <a:pt x="402489" y="384134"/>
                    <a:pt x="369620" y="384134"/>
                  </a:cubicBezTo>
                  <a:cubicBezTo>
                    <a:pt x="336751" y="384134"/>
                    <a:pt x="310196" y="374679"/>
                    <a:pt x="310196" y="362906"/>
                  </a:cubicBezTo>
                  <a:lnTo>
                    <a:pt x="310196" y="307753"/>
                  </a:lnTo>
                  <a:lnTo>
                    <a:pt x="244551" y="307753"/>
                  </a:lnTo>
                  <a:cubicBezTo>
                    <a:pt x="233594" y="316837"/>
                    <a:pt x="219667" y="322491"/>
                    <a:pt x="204347" y="322769"/>
                  </a:cubicBezTo>
                  <a:cubicBezTo>
                    <a:pt x="199797" y="336303"/>
                    <a:pt x="197383" y="350393"/>
                    <a:pt x="197383" y="364853"/>
                  </a:cubicBezTo>
                  <a:lnTo>
                    <a:pt x="197383" y="461627"/>
                  </a:lnTo>
                  <a:lnTo>
                    <a:pt x="566742" y="461905"/>
                  </a:lnTo>
                  <a:cubicBezTo>
                    <a:pt x="589212" y="461905"/>
                    <a:pt x="607503" y="480074"/>
                    <a:pt x="607503" y="502599"/>
                  </a:cubicBezTo>
                  <a:cubicBezTo>
                    <a:pt x="607503" y="525124"/>
                    <a:pt x="589212" y="543292"/>
                    <a:pt x="566742" y="543292"/>
                  </a:cubicBezTo>
                  <a:lnTo>
                    <a:pt x="197661" y="543292"/>
                  </a:lnTo>
                  <a:cubicBezTo>
                    <a:pt x="152443" y="543292"/>
                    <a:pt x="115767" y="506677"/>
                    <a:pt x="115767" y="461627"/>
                  </a:cubicBezTo>
                  <a:lnTo>
                    <a:pt x="115767" y="364853"/>
                  </a:lnTo>
                  <a:cubicBezTo>
                    <a:pt x="115767" y="336395"/>
                    <a:pt x="121338" y="308587"/>
                    <a:pt x="132295" y="282354"/>
                  </a:cubicBezTo>
                  <a:lnTo>
                    <a:pt x="139444" y="265298"/>
                  </a:lnTo>
                  <a:cubicBezTo>
                    <a:pt x="139165" y="262888"/>
                    <a:pt x="138794" y="260570"/>
                    <a:pt x="138794" y="258160"/>
                  </a:cubicBezTo>
                  <a:cubicBezTo>
                    <a:pt x="138794" y="237582"/>
                    <a:pt x="148636" y="219414"/>
                    <a:pt x="163585" y="207549"/>
                  </a:cubicBezTo>
                  <a:lnTo>
                    <a:pt x="171199" y="189380"/>
                  </a:lnTo>
                  <a:lnTo>
                    <a:pt x="84755" y="130611"/>
                  </a:lnTo>
                  <a:close/>
                  <a:moveTo>
                    <a:pt x="43836" y="454"/>
                  </a:moveTo>
                  <a:cubicBezTo>
                    <a:pt x="50440" y="-786"/>
                    <a:pt x="57521" y="489"/>
                    <a:pt x="63510" y="4567"/>
                  </a:cubicBezTo>
                  <a:lnTo>
                    <a:pt x="105854" y="33304"/>
                  </a:lnTo>
                  <a:lnTo>
                    <a:pt x="53760" y="109597"/>
                  </a:lnTo>
                  <a:lnTo>
                    <a:pt x="11509" y="80860"/>
                  </a:lnTo>
                  <a:cubicBezTo>
                    <a:pt x="5752" y="76874"/>
                    <a:pt x="1759" y="70849"/>
                    <a:pt x="459" y="63989"/>
                  </a:cubicBezTo>
                  <a:cubicBezTo>
                    <a:pt x="-841" y="57129"/>
                    <a:pt x="645" y="50083"/>
                    <a:pt x="4545" y="44336"/>
                  </a:cubicBezTo>
                  <a:lnTo>
                    <a:pt x="27017" y="11427"/>
                  </a:lnTo>
                  <a:cubicBezTo>
                    <a:pt x="31102" y="5448"/>
                    <a:pt x="37231" y="1694"/>
                    <a:pt x="43836" y="454"/>
                  </a:cubicBezTo>
                  <a:close/>
                </a:path>
              </a:pathLst>
            </a:custGeom>
            <a:solidFill>
              <a:srgbClr val="A5A5A5"/>
            </a:solidFill>
            <a:ln>
              <a:noFill/>
            </a:ln>
          </p:spPr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工厂化养殖模式，养殖标准化，保证安全和可持续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1</a:t>
            </a:fld>
            <a:endParaRPr lang="zh-CN" altLang="en-US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pic>
        <p:nvPicPr>
          <p:cNvPr id="288" name="图片 28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70885" y="2175710"/>
            <a:ext cx="4140000" cy="4140000"/>
          </a:xfrm>
          <a:prstGeom prst="ellipse">
            <a:avLst/>
          </a:prstGeom>
        </p:spPr>
      </p:pic>
      <p:grpSp>
        <p:nvGrpSpPr>
          <p:cNvPr id="290" name="组合 289"/>
          <p:cNvGrpSpPr/>
          <p:nvPr/>
        </p:nvGrpSpPr>
        <p:grpSpPr>
          <a:xfrm>
            <a:off x="8222943" y="3440333"/>
            <a:ext cx="1726304" cy="1726304"/>
            <a:chOff x="2827318" y="1576319"/>
            <a:chExt cx="1726304" cy="1726304"/>
          </a:xfrm>
        </p:grpSpPr>
        <p:sp>
          <p:nvSpPr>
            <p:cNvPr id="291" name="椭圆 290"/>
            <p:cNvSpPr/>
            <p:nvPr/>
          </p:nvSpPr>
          <p:spPr>
            <a:xfrm>
              <a:off x="2827318" y="1576319"/>
              <a:ext cx="1726304" cy="1726304"/>
            </a:xfrm>
            <a:prstGeom prst="ellipse">
              <a:avLst/>
            </a:prstGeom>
            <a:solidFill>
              <a:srgbClr val="C00000">
                <a:alpha val="69000"/>
              </a:srgbClr>
            </a:solid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3" name="椭圆 4"/>
            <p:cNvSpPr txBox="1"/>
            <p:nvPr/>
          </p:nvSpPr>
          <p:spPr>
            <a:xfrm>
              <a:off x="3080129" y="1829130"/>
              <a:ext cx="1220682" cy="1220682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2860" tIns="22860" rIns="22860" bIns="2286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800" b="1" kern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工业化养殖</a:t>
              </a:r>
              <a:endParaRPr lang="en-US" altLang="zh-CN" sz="1800" b="1" kern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0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I</a:t>
              </a:r>
              <a:r>
                <a:rPr lang="en-US" altLang="zh-CN" sz="1000" b="1" kern="12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ndustrial Aquaculture</a:t>
              </a:r>
              <a:endParaRPr lang="zh-CN" altLang="en-US" sz="1000" b="1" kern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97" name="组合 296"/>
          <p:cNvGrpSpPr/>
          <p:nvPr/>
        </p:nvGrpSpPr>
        <p:grpSpPr>
          <a:xfrm>
            <a:off x="10225492" y="3132747"/>
            <a:ext cx="1208413" cy="1208413"/>
            <a:chOff x="4829867" y="1268733"/>
            <a:chExt cx="1208413" cy="1208413"/>
          </a:xfrm>
        </p:grpSpPr>
        <p:sp>
          <p:nvSpPr>
            <p:cNvPr id="298" name="椭圆 297"/>
            <p:cNvSpPr/>
            <p:nvPr/>
          </p:nvSpPr>
          <p:spPr>
            <a:xfrm>
              <a:off x="4829867" y="1268733"/>
              <a:ext cx="1208413" cy="1208413"/>
            </a:xfrm>
            <a:prstGeom prst="ellipse">
              <a:avLst/>
            </a:prstGeom>
            <a:solidFill>
              <a:srgbClr val="C00000">
                <a:alpha val="69000"/>
              </a:srgbClr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9" name="椭圆 8"/>
            <p:cNvSpPr txBox="1"/>
            <p:nvPr/>
          </p:nvSpPr>
          <p:spPr>
            <a:xfrm>
              <a:off x="5006835" y="1445701"/>
              <a:ext cx="854477" cy="85447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600" b="1" kern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集约养殖</a:t>
              </a:r>
              <a:endParaRPr lang="en-US" altLang="zh-CN" sz="1600" b="1" kern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05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Intensive</a:t>
              </a:r>
              <a:endParaRPr lang="zh-CN" altLang="en-US" sz="1050" b="1" kern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00" name="组合 299"/>
          <p:cNvGrpSpPr/>
          <p:nvPr/>
        </p:nvGrpSpPr>
        <p:grpSpPr>
          <a:xfrm>
            <a:off x="9559495" y="5182475"/>
            <a:ext cx="1208413" cy="1208413"/>
            <a:chOff x="4163870" y="3318461"/>
            <a:chExt cx="1208413" cy="1208413"/>
          </a:xfrm>
        </p:grpSpPr>
        <p:sp>
          <p:nvSpPr>
            <p:cNvPr id="301" name="椭圆 300"/>
            <p:cNvSpPr/>
            <p:nvPr/>
          </p:nvSpPr>
          <p:spPr>
            <a:xfrm>
              <a:off x="4163870" y="3318461"/>
              <a:ext cx="1208413" cy="1208413"/>
            </a:xfrm>
            <a:prstGeom prst="ellipse">
              <a:avLst/>
            </a:prstGeom>
            <a:solidFill>
              <a:srgbClr val="C00000">
                <a:alpha val="69000"/>
              </a:srgbClr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2" name="椭圆 10"/>
            <p:cNvSpPr txBox="1"/>
            <p:nvPr/>
          </p:nvSpPr>
          <p:spPr>
            <a:xfrm>
              <a:off x="4340838" y="3495429"/>
              <a:ext cx="854477" cy="85447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600" b="1" kern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贴近市场</a:t>
              </a:r>
              <a:endParaRPr lang="en-US" altLang="zh-CN" sz="1600" b="1" kern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05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Close to market</a:t>
              </a:r>
              <a:endParaRPr lang="zh-CN" altLang="en-US" sz="1050" b="1" kern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03" name="组合 302"/>
          <p:cNvGrpSpPr/>
          <p:nvPr/>
        </p:nvGrpSpPr>
        <p:grpSpPr>
          <a:xfrm>
            <a:off x="7404283" y="5182475"/>
            <a:ext cx="1208413" cy="1208413"/>
            <a:chOff x="2008658" y="3318461"/>
            <a:chExt cx="1208413" cy="1208413"/>
          </a:xfrm>
        </p:grpSpPr>
        <p:sp>
          <p:nvSpPr>
            <p:cNvPr id="304" name="椭圆 303"/>
            <p:cNvSpPr/>
            <p:nvPr/>
          </p:nvSpPr>
          <p:spPr>
            <a:xfrm>
              <a:off x="2008658" y="3318461"/>
              <a:ext cx="1208413" cy="1208413"/>
            </a:xfrm>
            <a:prstGeom prst="ellipse">
              <a:avLst/>
            </a:prstGeom>
            <a:solidFill>
              <a:srgbClr val="C00000">
                <a:alpha val="69000"/>
              </a:srgbClr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5" name="椭圆 12"/>
            <p:cNvSpPr txBox="1"/>
            <p:nvPr/>
          </p:nvSpPr>
          <p:spPr>
            <a:xfrm>
              <a:off x="2054997" y="3528087"/>
              <a:ext cx="1087076" cy="85447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600" b="1" kern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节水处废</a:t>
              </a:r>
              <a:endParaRPr lang="en-US" altLang="zh-CN" sz="1600" b="1" kern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05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Environment friendly</a:t>
              </a:r>
              <a:endParaRPr lang="zh-CN" altLang="en-US" sz="1050" b="1" kern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06" name="组合 305"/>
          <p:cNvGrpSpPr/>
          <p:nvPr/>
        </p:nvGrpSpPr>
        <p:grpSpPr>
          <a:xfrm>
            <a:off x="6738286" y="3132747"/>
            <a:ext cx="1208413" cy="1208413"/>
            <a:chOff x="1342661" y="1268733"/>
            <a:chExt cx="1208413" cy="1208413"/>
          </a:xfrm>
        </p:grpSpPr>
        <p:sp>
          <p:nvSpPr>
            <p:cNvPr id="307" name="椭圆 306"/>
            <p:cNvSpPr/>
            <p:nvPr/>
          </p:nvSpPr>
          <p:spPr>
            <a:xfrm>
              <a:off x="1342661" y="1268733"/>
              <a:ext cx="1208413" cy="1208413"/>
            </a:xfrm>
            <a:prstGeom prst="ellipse">
              <a:avLst/>
            </a:prstGeom>
            <a:solidFill>
              <a:srgbClr val="C00000">
                <a:alpha val="69000"/>
              </a:srgbClr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8" name="椭圆 14"/>
            <p:cNvSpPr txBox="1"/>
            <p:nvPr/>
          </p:nvSpPr>
          <p:spPr>
            <a:xfrm>
              <a:off x="1519629" y="1445701"/>
              <a:ext cx="854477" cy="85447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600" b="1" kern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生物调节</a:t>
              </a:r>
              <a:endParaRPr lang="en-US" altLang="zh-CN" sz="1600" b="1" kern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05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Biological regulatory</a:t>
              </a:r>
              <a:endParaRPr lang="zh-CN" altLang="en-US" sz="1050" b="1" kern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09" name="组合 308"/>
          <p:cNvGrpSpPr/>
          <p:nvPr/>
        </p:nvGrpSpPr>
        <p:grpSpPr>
          <a:xfrm>
            <a:off x="8481889" y="1865946"/>
            <a:ext cx="1208413" cy="1208413"/>
            <a:chOff x="3086264" y="1932"/>
            <a:chExt cx="1208413" cy="1208413"/>
          </a:xfrm>
        </p:grpSpPr>
        <p:sp>
          <p:nvSpPr>
            <p:cNvPr id="310" name="椭圆 309"/>
            <p:cNvSpPr/>
            <p:nvPr/>
          </p:nvSpPr>
          <p:spPr>
            <a:xfrm>
              <a:off x="3086264" y="1932"/>
              <a:ext cx="1208413" cy="1208413"/>
            </a:xfrm>
            <a:prstGeom prst="ellipse">
              <a:avLst/>
            </a:prstGeom>
            <a:solidFill>
              <a:srgbClr val="C00000">
                <a:alpha val="69000"/>
              </a:srgbClr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1" name="椭圆 6"/>
            <p:cNvSpPr txBox="1"/>
            <p:nvPr/>
          </p:nvSpPr>
          <p:spPr>
            <a:xfrm>
              <a:off x="3263232" y="178900"/>
              <a:ext cx="854477" cy="85447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0320" tIns="20320" rIns="20320" bIns="2032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zh-CN" altLang="en-US" sz="1600" b="1" kern="1200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稳产高产</a:t>
              </a:r>
              <a:endParaRPr lang="en-US" altLang="zh-CN" sz="1600" b="1" kern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altLang="zh-CN" sz="105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High production</a:t>
              </a:r>
              <a:endParaRPr lang="zh-CN" altLang="en-US" sz="1050" b="1" kern="12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pic>
        <p:nvPicPr>
          <p:cNvPr id="262" name="图片 26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924" y="1485768"/>
            <a:ext cx="5707331" cy="4140000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全球供应链，保证安全和可持续供应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2</a:t>
            </a:fld>
            <a:endParaRPr lang="zh-CN" altLang="en-US" dirty="0"/>
          </a:p>
        </p:txBody>
      </p:sp>
      <p:cxnSp>
        <p:nvCxnSpPr>
          <p:cNvPr id="5" name="直接连接符 4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grpSp>
        <p:nvGrpSpPr>
          <p:cNvPr id="272" name="28202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6724247" y="2195298"/>
            <a:ext cx="5467753" cy="3232108"/>
            <a:chOff x="5419737" y="2048901"/>
            <a:chExt cx="5467753" cy="3164306"/>
          </a:xfrm>
        </p:grpSpPr>
        <p:grpSp>
          <p:nvGrpSpPr>
            <p:cNvPr id="273" name="íṩḷiḋè"/>
            <p:cNvGrpSpPr/>
            <p:nvPr/>
          </p:nvGrpSpPr>
          <p:grpSpPr>
            <a:xfrm>
              <a:off x="5419737" y="2048901"/>
              <a:ext cx="5467753" cy="640029"/>
              <a:chOff x="5419736" y="2052866"/>
              <a:chExt cx="5467753" cy="640029"/>
            </a:xfrm>
          </p:grpSpPr>
          <p:sp>
            <p:nvSpPr>
              <p:cNvPr id="286" name="iŝļíďê"/>
              <p:cNvSpPr/>
              <p:nvPr/>
            </p:nvSpPr>
            <p:spPr>
              <a:xfrm>
                <a:off x="5419736" y="2055158"/>
                <a:ext cx="538264" cy="538264"/>
              </a:xfrm>
              <a:prstGeom prst="ellipse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65"/>
                <a:r>
                  <a:rPr lang="en-US" altLang="zh-CN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zh-CN" altLang="en-US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7" name="îṣḷídê"/>
              <p:cNvSpPr/>
              <p:nvPr/>
            </p:nvSpPr>
            <p:spPr bwMode="auto">
              <a:xfrm>
                <a:off x="6125592" y="2052866"/>
                <a:ext cx="4761897" cy="6400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从</a:t>
                </a:r>
                <a:r>
                  <a:rPr lang="en-US" altLang="zh-CN" sz="14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15</a:t>
                </a:r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个国家采购，例如阿根廷、智力、厄瓜多尔、印度、印尼、马来西亚、新西兰、泰国、越南等。</a:t>
                </a:r>
                <a:r>
                  <a:rPr lang="en-US" altLang="zh-CN" sz="14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 </a:t>
                </a:r>
                <a:endPara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74" name="ísḷîḋe"/>
            <p:cNvGrpSpPr/>
            <p:nvPr/>
          </p:nvGrpSpPr>
          <p:grpSpPr>
            <a:xfrm>
              <a:off x="5419737" y="3800361"/>
              <a:ext cx="5370099" cy="538264"/>
              <a:chOff x="5419736" y="2055158"/>
              <a:chExt cx="5370099" cy="538264"/>
            </a:xfrm>
          </p:grpSpPr>
          <p:sp>
            <p:nvSpPr>
              <p:cNvPr id="284" name="îṡ1îdê"/>
              <p:cNvSpPr/>
              <p:nvPr/>
            </p:nvSpPr>
            <p:spPr>
              <a:xfrm>
                <a:off x="5419736" y="2055158"/>
                <a:ext cx="538264" cy="538264"/>
              </a:xfrm>
              <a:prstGeom prst="ellipse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65"/>
                <a:r>
                  <a:rPr lang="en-US" altLang="zh-CN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</a:t>
                </a:r>
                <a:endParaRPr lang="zh-CN" altLang="en-US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5" name="ïšļïďé"/>
              <p:cNvSpPr/>
              <p:nvPr/>
            </p:nvSpPr>
            <p:spPr bwMode="auto">
              <a:xfrm>
                <a:off x="6125592" y="2125436"/>
                <a:ext cx="4664243" cy="4557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布局越南、印度和印尼的战略合作伙伴。</a:t>
                </a:r>
                <a:endPara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75" name="ïśľide"/>
            <p:cNvGrpSpPr/>
            <p:nvPr/>
          </p:nvGrpSpPr>
          <p:grpSpPr>
            <a:xfrm>
              <a:off x="5419737" y="2826305"/>
              <a:ext cx="5467753" cy="776008"/>
              <a:chOff x="5419736" y="1955686"/>
              <a:chExt cx="5467753" cy="776008"/>
            </a:xfrm>
          </p:grpSpPr>
          <p:sp>
            <p:nvSpPr>
              <p:cNvPr id="282" name="iŝľíďe"/>
              <p:cNvSpPr/>
              <p:nvPr/>
            </p:nvSpPr>
            <p:spPr>
              <a:xfrm>
                <a:off x="5419736" y="2055158"/>
                <a:ext cx="538264" cy="53826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65"/>
                <a:r>
                  <a:rPr lang="en-US" altLang="zh-CN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zh-CN" altLang="en-US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3" name="iSḻíďê"/>
              <p:cNvSpPr/>
              <p:nvPr/>
            </p:nvSpPr>
            <p:spPr bwMode="auto">
              <a:xfrm>
                <a:off x="6125592" y="1955686"/>
                <a:ext cx="4761897" cy="77600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  <a:sym typeface="+mn-ea"/>
                  </a:rPr>
                  <a:t>设立在越南、印度、南美和东南亚的分子公司确保供应质量的稳定以及行情分享。</a:t>
                </a:r>
                <a:endPara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276" name="íṥľïḑé"/>
            <p:cNvGrpSpPr/>
            <p:nvPr/>
          </p:nvGrpSpPr>
          <p:grpSpPr>
            <a:xfrm>
              <a:off x="5419737" y="4674943"/>
              <a:ext cx="5467753" cy="538264"/>
              <a:chOff x="5419736" y="2055158"/>
              <a:chExt cx="5467753" cy="538264"/>
            </a:xfrm>
          </p:grpSpPr>
          <p:sp>
            <p:nvSpPr>
              <p:cNvPr id="280" name="îšļíḍé"/>
              <p:cNvSpPr/>
              <p:nvPr/>
            </p:nvSpPr>
            <p:spPr>
              <a:xfrm>
                <a:off x="5419736" y="2055158"/>
                <a:ext cx="538264" cy="538264"/>
              </a:xfrm>
              <a:prstGeom prst="ellipse">
                <a:avLst/>
              </a:prstGeom>
              <a:solidFill>
                <a:schemeClr val="tx1">
                  <a:lumMod val="50000"/>
                  <a:lumOff val="50000"/>
                </a:schemeClr>
              </a:solidFill>
              <a:ln w="12700" cap="rnd">
                <a:noFill/>
                <a:prstDash val="solid"/>
                <a:rou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rmAutofit/>
              </a:bodyPr>
              <a:lstStyle/>
              <a:p>
                <a:pPr algn="ctr" defTabSz="913765"/>
                <a:r>
                  <a:rPr lang="en-US" altLang="zh-CN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</a:t>
                </a:r>
                <a:endParaRPr lang="zh-CN" altLang="en-US" b="1" dirty="0">
                  <a:solidFill>
                    <a:schemeClr val="bg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81" name="i$ļîḍê"/>
              <p:cNvSpPr/>
              <p:nvPr/>
            </p:nvSpPr>
            <p:spPr bwMode="auto">
              <a:xfrm>
                <a:off x="6125592" y="2096408"/>
                <a:ext cx="4761897" cy="4557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zh-CN" altLang="en-US" sz="14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采购品类包括白虾、老虎虾、阿根廷红虾、龙虾、巴沙鱼等。</a:t>
                </a:r>
                <a:endParaRPr lang="en-US" altLang="zh-CN" sz="14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cxnSp>
          <p:nvCxnSpPr>
            <p:cNvPr id="277" name="直接连接符 276"/>
            <p:cNvCxnSpPr/>
            <p:nvPr/>
          </p:nvCxnSpPr>
          <p:spPr>
            <a:xfrm>
              <a:off x="6223247" y="2757617"/>
              <a:ext cx="466424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直接连接符 277"/>
            <p:cNvCxnSpPr/>
            <p:nvPr/>
          </p:nvCxnSpPr>
          <p:spPr>
            <a:xfrm>
              <a:off x="6223247" y="3632201"/>
              <a:ext cx="466424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9" name="直接连接符 278"/>
            <p:cNvCxnSpPr/>
            <p:nvPr/>
          </p:nvCxnSpPr>
          <p:spPr>
            <a:xfrm>
              <a:off x="6223247" y="4506785"/>
              <a:ext cx="466424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4" name="矩形 293"/>
          <p:cNvSpPr/>
          <p:nvPr/>
        </p:nvSpPr>
        <p:spPr>
          <a:xfrm>
            <a:off x="6724247" y="1529273"/>
            <a:ext cx="1783080" cy="5067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+mn-ea"/>
              </a:rPr>
              <a:t>全球供应链网络</a:t>
            </a:r>
            <a:endParaRPr lang="en-US" altLang="zh-CN" b="1" dirty="0"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grpSp>
        <p:nvGrpSpPr>
          <p:cNvPr id="296" name="组合 295"/>
          <p:cNvGrpSpPr/>
          <p:nvPr/>
        </p:nvGrpSpPr>
        <p:grpSpPr>
          <a:xfrm>
            <a:off x="435402" y="1794854"/>
            <a:ext cx="5798701" cy="3566325"/>
            <a:chOff x="420888" y="1375887"/>
            <a:chExt cx="5798701" cy="3566325"/>
          </a:xfrm>
        </p:grpSpPr>
        <p:grpSp>
          <p:nvGrpSpPr>
            <p:cNvPr id="261" name="组合 260"/>
            <p:cNvGrpSpPr/>
            <p:nvPr/>
          </p:nvGrpSpPr>
          <p:grpSpPr>
            <a:xfrm>
              <a:off x="420888" y="1375887"/>
              <a:ext cx="5798701" cy="3566325"/>
              <a:chOff x="314298" y="1417945"/>
              <a:chExt cx="6915178" cy="4252982"/>
            </a:xfrm>
          </p:grpSpPr>
          <p:grpSp>
            <p:nvGrpSpPr>
              <p:cNvPr id="7" name="组合 6"/>
              <p:cNvGrpSpPr/>
              <p:nvPr/>
            </p:nvGrpSpPr>
            <p:grpSpPr>
              <a:xfrm>
                <a:off x="314298" y="2082638"/>
                <a:ext cx="6915178" cy="3540281"/>
                <a:chOff x="928662" y="1675522"/>
                <a:chExt cx="6850085" cy="3506956"/>
              </a:xfrm>
              <a:solidFill>
                <a:srgbClr val="B2D2DE"/>
              </a:solidFill>
            </p:grpSpPr>
            <p:sp>
              <p:nvSpPr>
                <p:cNvPr id="8" name="Freeform 250"/>
                <p:cNvSpPr/>
                <p:nvPr/>
              </p:nvSpPr>
              <p:spPr bwMode="auto">
                <a:xfrm>
                  <a:off x="6769598" y="3565841"/>
                  <a:ext cx="26956" cy="7956"/>
                </a:xfrm>
                <a:custGeom>
                  <a:avLst/>
                  <a:gdLst>
                    <a:gd name="T0" fmla="*/ 0 w 54"/>
                    <a:gd name="T1" fmla="*/ 0 h 19"/>
                    <a:gd name="T2" fmla="*/ 0 w 54"/>
                    <a:gd name="T3" fmla="*/ 0 h 19"/>
                    <a:gd name="T4" fmla="*/ 1 w 54"/>
                    <a:gd name="T5" fmla="*/ 0 h 19"/>
                    <a:gd name="T6" fmla="*/ 0 w 54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4"/>
                    <a:gd name="T13" fmla="*/ 0 h 19"/>
                    <a:gd name="T14" fmla="*/ 54 w 54"/>
                    <a:gd name="T15" fmla="*/ 19 h 1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4" h="19">
                      <a:moveTo>
                        <a:pt x="0" y="0"/>
                      </a:moveTo>
                      <a:lnTo>
                        <a:pt x="3" y="19"/>
                      </a:lnTo>
                      <a:lnTo>
                        <a:pt x="54" y="1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" name="Freeform 251"/>
                <p:cNvSpPr/>
                <p:nvPr/>
              </p:nvSpPr>
              <p:spPr bwMode="auto">
                <a:xfrm>
                  <a:off x="6656721" y="4380524"/>
                  <a:ext cx="360531" cy="709665"/>
                </a:xfrm>
                <a:custGeom>
                  <a:avLst/>
                  <a:gdLst>
                    <a:gd name="T0" fmla="*/ 0 w 750"/>
                    <a:gd name="T1" fmla="*/ 33 h 1564"/>
                    <a:gd name="T2" fmla="*/ 0 w 750"/>
                    <a:gd name="T3" fmla="*/ 34 h 1564"/>
                    <a:gd name="T4" fmla="*/ 1 w 750"/>
                    <a:gd name="T5" fmla="*/ 34 h 1564"/>
                    <a:gd name="T6" fmla="*/ 1 w 750"/>
                    <a:gd name="T7" fmla="*/ 36 h 1564"/>
                    <a:gd name="T8" fmla="*/ 4 w 750"/>
                    <a:gd name="T9" fmla="*/ 36 h 1564"/>
                    <a:gd name="T10" fmla="*/ 3 w 750"/>
                    <a:gd name="T11" fmla="*/ 35 h 1564"/>
                    <a:gd name="T12" fmla="*/ 4 w 750"/>
                    <a:gd name="T13" fmla="*/ 33 h 1564"/>
                    <a:gd name="T14" fmla="*/ 5 w 750"/>
                    <a:gd name="T15" fmla="*/ 33 h 1564"/>
                    <a:gd name="T16" fmla="*/ 7 w 750"/>
                    <a:gd name="T17" fmla="*/ 30 h 1564"/>
                    <a:gd name="T18" fmla="*/ 5 w 750"/>
                    <a:gd name="T19" fmla="*/ 28 h 1564"/>
                    <a:gd name="T20" fmla="*/ 7 w 750"/>
                    <a:gd name="T21" fmla="*/ 27 h 1564"/>
                    <a:gd name="T22" fmla="*/ 7 w 750"/>
                    <a:gd name="T23" fmla="*/ 25 h 1564"/>
                    <a:gd name="T24" fmla="*/ 8 w 750"/>
                    <a:gd name="T25" fmla="*/ 24 h 1564"/>
                    <a:gd name="T26" fmla="*/ 7 w 750"/>
                    <a:gd name="T27" fmla="*/ 24 h 1564"/>
                    <a:gd name="T28" fmla="*/ 9 w 750"/>
                    <a:gd name="T29" fmla="*/ 24 h 1564"/>
                    <a:gd name="T30" fmla="*/ 9 w 750"/>
                    <a:gd name="T31" fmla="*/ 23 h 1564"/>
                    <a:gd name="T32" fmla="*/ 8 w 750"/>
                    <a:gd name="T33" fmla="*/ 24 h 1564"/>
                    <a:gd name="T34" fmla="*/ 7 w 750"/>
                    <a:gd name="T35" fmla="*/ 23 h 1564"/>
                    <a:gd name="T36" fmla="*/ 7 w 750"/>
                    <a:gd name="T37" fmla="*/ 22 h 1564"/>
                    <a:gd name="T38" fmla="*/ 10 w 750"/>
                    <a:gd name="T39" fmla="*/ 22 h 1564"/>
                    <a:gd name="T40" fmla="*/ 10 w 750"/>
                    <a:gd name="T41" fmla="*/ 19 h 1564"/>
                    <a:gd name="T42" fmla="*/ 14 w 750"/>
                    <a:gd name="T43" fmla="*/ 19 h 1564"/>
                    <a:gd name="T44" fmla="*/ 15 w 750"/>
                    <a:gd name="T45" fmla="*/ 17 h 1564"/>
                    <a:gd name="T46" fmla="*/ 13 w 750"/>
                    <a:gd name="T47" fmla="*/ 13 h 1564"/>
                    <a:gd name="T48" fmla="*/ 14 w 750"/>
                    <a:gd name="T49" fmla="*/ 9 h 1564"/>
                    <a:gd name="T50" fmla="*/ 17 w 750"/>
                    <a:gd name="T51" fmla="*/ 6 h 1564"/>
                    <a:gd name="T52" fmla="*/ 17 w 750"/>
                    <a:gd name="T53" fmla="*/ 4 h 1564"/>
                    <a:gd name="T54" fmla="*/ 17 w 750"/>
                    <a:gd name="T55" fmla="*/ 4 h 1564"/>
                    <a:gd name="T56" fmla="*/ 16 w 750"/>
                    <a:gd name="T57" fmla="*/ 6 h 1564"/>
                    <a:gd name="T58" fmla="*/ 13 w 750"/>
                    <a:gd name="T59" fmla="*/ 6 h 1564"/>
                    <a:gd name="T60" fmla="*/ 14 w 750"/>
                    <a:gd name="T61" fmla="*/ 4 h 1564"/>
                    <a:gd name="T62" fmla="*/ 10 w 750"/>
                    <a:gd name="T63" fmla="*/ 1 h 1564"/>
                    <a:gd name="T64" fmla="*/ 8 w 750"/>
                    <a:gd name="T65" fmla="*/ 0 h 1564"/>
                    <a:gd name="T66" fmla="*/ 8 w 750"/>
                    <a:gd name="T67" fmla="*/ 1 h 1564"/>
                    <a:gd name="T68" fmla="*/ 7 w 750"/>
                    <a:gd name="T69" fmla="*/ 0 h 1564"/>
                    <a:gd name="T70" fmla="*/ 5 w 750"/>
                    <a:gd name="T71" fmla="*/ 1 h 1564"/>
                    <a:gd name="T72" fmla="*/ 5 w 750"/>
                    <a:gd name="T73" fmla="*/ 3 h 1564"/>
                    <a:gd name="T74" fmla="*/ 4 w 750"/>
                    <a:gd name="T75" fmla="*/ 3 h 1564"/>
                    <a:gd name="T76" fmla="*/ 4 w 750"/>
                    <a:gd name="T77" fmla="*/ 5 h 1564"/>
                    <a:gd name="T78" fmla="*/ 3 w 750"/>
                    <a:gd name="T79" fmla="*/ 7 h 1564"/>
                    <a:gd name="T80" fmla="*/ 3 w 750"/>
                    <a:gd name="T81" fmla="*/ 11 h 1564"/>
                    <a:gd name="T82" fmla="*/ 3 w 750"/>
                    <a:gd name="T83" fmla="*/ 14 h 1564"/>
                    <a:gd name="T84" fmla="*/ 2 w 750"/>
                    <a:gd name="T85" fmla="*/ 17 h 1564"/>
                    <a:gd name="T86" fmla="*/ 1 w 750"/>
                    <a:gd name="T87" fmla="*/ 24 h 1564"/>
                    <a:gd name="T88" fmla="*/ 2 w 750"/>
                    <a:gd name="T89" fmla="*/ 26 h 1564"/>
                    <a:gd name="T90" fmla="*/ 1 w 750"/>
                    <a:gd name="T91" fmla="*/ 27 h 1564"/>
                    <a:gd name="T92" fmla="*/ 1 w 750"/>
                    <a:gd name="T93" fmla="*/ 29 h 1564"/>
                    <a:gd name="T94" fmla="*/ 0 w 750"/>
                    <a:gd name="T95" fmla="*/ 33 h 1564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750"/>
                    <a:gd name="T145" fmla="*/ 0 h 1564"/>
                    <a:gd name="T146" fmla="*/ 750 w 750"/>
                    <a:gd name="T147" fmla="*/ 1564 h 1564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750" h="1564">
                      <a:moveTo>
                        <a:pt x="0" y="1446"/>
                      </a:moveTo>
                      <a:lnTo>
                        <a:pt x="7" y="1480"/>
                      </a:lnTo>
                      <a:lnTo>
                        <a:pt x="38" y="1467"/>
                      </a:lnTo>
                      <a:lnTo>
                        <a:pt x="52" y="1546"/>
                      </a:lnTo>
                      <a:lnTo>
                        <a:pt x="188" y="1564"/>
                      </a:lnTo>
                      <a:lnTo>
                        <a:pt x="152" y="1523"/>
                      </a:lnTo>
                      <a:lnTo>
                        <a:pt x="181" y="1418"/>
                      </a:lnTo>
                      <a:lnTo>
                        <a:pt x="206" y="1438"/>
                      </a:lnTo>
                      <a:lnTo>
                        <a:pt x="290" y="1288"/>
                      </a:lnTo>
                      <a:lnTo>
                        <a:pt x="226" y="1205"/>
                      </a:lnTo>
                      <a:lnTo>
                        <a:pt x="299" y="1154"/>
                      </a:lnTo>
                      <a:lnTo>
                        <a:pt x="311" y="1077"/>
                      </a:lnTo>
                      <a:lnTo>
                        <a:pt x="345" y="1044"/>
                      </a:lnTo>
                      <a:lnTo>
                        <a:pt x="317" y="1030"/>
                      </a:lnTo>
                      <a:lnTo>
                        <a:pt x="374" y="1030"/>
                      </a:lnTo>
                      <a:lnTo>
                        <a:pt x="368" y="992"/>
                      </a:lnTo>
                      <a:lnTo>
                        <a:pt x="341" y="1019"/>
                      </a:lnTo>
                      <a:lnTo>
                        <a:pt x="317" y="990"/>
                      </a:lnTo>
                      <a:lnTo>
                        <a:pt x="313" y="932"/>
                      </a:lnTo>
                      <a:lnTo>
                        <a:pt x="415" y="939"/>
                      </a:lnTo>
                      <a:lnTo>
                        <a:pt x="425" y="824"/>
                      </a:lnTo>
                      <a:lnTo>
                        <a:pt x="587" y="806"/>
                      </a:lnTo>
                      <a:lnTo>
                        <a:pt x="634" y="725"/>
                      </a:lnTo>
                      <a:lnTo>
                        <a:pt x="570" y="582"/>
                      </a:lnTo>
                      <a:lnTo>
                        <a:pt x="601" y="398"/>
                      </a:lnTo>
                      <a:lnTo>
                        <a:pt x="750" y="249"/>
                      </a:lnTo>
                      <a:lnTo>
                        <a:pt x="744" y="181"/>
                      </a:lnTo>
                      <a:lnTo>
                        <a:pt x="718" y="179"/>
                      </a:lnTo>
                      <a:lnTo>
                        <a:pt x="676" y="261"/>
                      </a:lnTo>
                      <a:lnTo>
                        <a:pt x="572" y="255"/>
                      </a:lnTo>
                      <a:lnTo>
                        <a:pt x="593" y="165"/>
                      </a:lnTo>
                      <a:lnTo>
                        <a:pt x="413" y="25"/>
                      </a:lnTo>
                      <a:lnTo>
                        <a:pt x="350" y="14"/>
                      </a:lnTo>
                      <a:lnTo>
                        <a:pt x="344" y="42"/>
                      </a:lnTo>
                      <a:lnTo>
                        <a:pt x="276" y="0"/>
                      </a:lnTo>
                      <a:lnTo>
                        <a:pt x="234" y="52"/>
                      </a:lnTo>
                      <a:lnTo>
                        <a:pt x="229" y="107"/>
                      </a:lnTo>
                      <a:lnTo>
                        <a:pt x="187" y="130"/>
                      </a:lnTo>
                      <a:lnTo>
                        <a:pt x="188" y="238"/>
                      </a:lnTo>
                      <a:lnTo>
                        <a:pt x="143" y="299"/>
                      </a:lnTo>
                      <a:lnTo>
                        <a:pt x="109" y="451"/>
                      </a:lnTo>
                      <a:lnTo>
                        <a:pt x="135" y="594"/>
                      </a:lnTo>
                      <a:lnTo>
                        <a:pt x="85" y="716"/>
                      </a:lnTo>
                      <a:lnTo>
                        <a:pt x="52" y="1021"/>
                      </a:lnTo>
                      <a:lnTo>
                        <a:pt x="79" y="1132"/>
                      </a:lnTo>
                      <a:lnTo>
                        <a:pt x="54" y="1142"/>
                      </a:lnTo>
                      <a:lnTo>
                        <a:pt x="65" y="1241"/>
                      </a:lnTo>
                      <a:lnTo>
                        <a:pt x="0" y="1446"/>
                      </a:lnTo>
                      <a:close/>
                    </a:path>
                  </a:pathLst>
                </a:custGeom>
                <a:solidFill>
                  <a:srgbClr val="00336C"/>
                </a:solidFill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" name="Freeform 252"/>
                <p:cNvSpPr/>
                <p:nvPr/>
              </p:nvSpPr>
              <p:spPr bwMode="auto">
                <a:xfrm>
                  <a:off x="6744327" y="5101328"/>
                  <a:ext cx="62335" cy="58874"/>
                </a:xfrm>
                <a:custGeom>
                  <a:avLst/>
                  <a:gdLst>
                    <a:gd name="T0" fmla="*/ 0 w 132"/>
                    <a:gd name="T1" fmla="*/ 0 h 134"/>
                    <a:gd name="T2" fmla="*/ 0 w 132"/>
                    <a:gd name="T3" fmla="*/ 3 h 134"/>
                    <a:gd name="T4" fmla="*/ 3 w 132"/>
                    <a:gd name="T5" fmla="*/ 2 h 134"/>
                    <a:gd name="T6" fmla="*/ 1 w 132"/>
                    <a:gd name="T7" fmla="*/ 1 h 134"/>
                    <a:gd name="T8" fmla="*/ 0 w 132"/>
                    <a:gd name="T9" fmla="*/ 0 h 13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32"/>
                    <a:gd name="T16" fmla="*/ 0 h 134"/>
                    <a:gd name="T17" fmla="*/ 132 w 132"/>
                    <a:gd name="T18" fmla="*/ 134 h 13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32" h="134">
                      <a:moveTo>
                        <a:pt x="0" y="0"/>
                      </a:moveTo>
                      <a:lnTo>
                        <a:pt x="2" y="134"/>
                      </a:lnTo>
                      <a:lnTo>
                        <a:pt x="132" y="119"/>
                      </a:lnTo>
                      <a:lnTo>
                        <a:pt x="29" y="6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" name="Freeform 253"/>
                <p:cNvSpPr/>
                <p:nvPr/>
              </p:nvSpPr>
              <p:spPr bwMode="auto">
                <a:xfrm>
                  <a:off x="6725795" y="4130709"/>
                  <a:ext cx="217329" cy="273683"/>
                </a:xfrm>
                <a:custGeom>
                  <a:avLst/>
                  <a:gdLst>
                    <a:gd name="T0" fmla="*/ 0 w 454"/>
                    <a:gd name="T1" fmla="*/ 1 h 601"/>
                    <a:gd name="T2" fmla="*/ 1 w 454"/>
                    <a:gd name="T3" fmla="*/ 3 h 601"/>
                    <a:gd name="T4" fmla="*/ 0 w 454"/>
                    <a:gd name="T5" fmla="*/ 6 h 601"/>
                    <a:gd name="T6" fmla="*/ 1 w 454"/>
                    <a:gd name="T7" fmla="*/ 7 h 601"/>
                    <a:gd name="T8" fmla="*/ 1 w 454"/>
                    <a:gd name="T9" fmla="*/ 7 h 601"/>
                    <a:gd name="T10" fmla="*/ 0 w 454"/>
                    <a:gd name="T11" fmla="*/ 8 h 601"/>
                    <a:gd name="T12" fmla="*/ 1 w 454"/>
                    <a:gd name="T13" fmla="*/ 10 h 601"/>
                    <a:gd name="T14" fmla="*/ 1 w 454"/>
                    <a:gd name="T15" fmla="*/ 14 h 601"/>
                    <a:gd name="T16" fmla="*/ 2 w 454"/>
                    <a:gd name="T17" fmla="*/ 14 h 601"/>
                    <a:gd name="T18" fmla="*/ 3 w 454"/>
                    <a:gd name="T19" fmla="*/ 13 h 601"/>
                    <a:gd name="T20" fmla="*/ 5 w 454"/>
                    <a:gd name="T21" fmla="*/ 14 h 601"/>
                    <a:gd name="T22" fmla="*/ 5 w 454"/>
                    <a:gd name="T23" fmla="*/ 13 h 601"/>
                    <a:gd name="T24" fmla="*/ 6 w 454"/>
                    <a:gd name="T25" fmla="*/ 13 h 601"/>
                    <a:gd name="T26" fmla="*/ 7 w 454"/>
                    <a:gd name="T27" fmla="*/ 11 h 601"/>
                    <a:gd name="T28" fmla="*/ 9 w 454"/>
                    <a:gd name="T29" fmla="*/ 10 h 601"/>
                    <a:gd name="T30" fmla="*/ 10 w 454"/>
                    <a:gd name="T31" fmla="*/ 11 h 601"/>
                    <a:gd name="T32" fmla="*/ 11 w 454"/>
                    <a:gd name="T33" fmla="*/ 9 h 601"/>
                    <a:gd name="T34" fmla="*/ 10 w 454"/>
                    <a:gd name="T35" fmla="*/ 7 h 601"/>
                    <a:gd name="T36" fmla="*/ 9 w 454"/>
                    <a:gd name="T37" fmla="*/ 7 h 601"/>
                    <a:gd name="T38" fmla="*/ 8 w 454"/>
                    <a:gd name="T39" fmla="*/ 4 h 601"/>
                    <a:gd name="T40" fmla="*/ 4 w 454"/>
                    <a:gd name="T41" fmla="*/ 2 h 601"/>
                    <a:gd name="T42" fmla="*/ 4 w 454"/>
                    <a:gd name="T43" fmla="*/ 0 h 601"/>
                    <a:gd name="T44" fmla="*/ 1 w 454"/>
                    <a:gd name="T45" fmla="*/ 1 h 601"/>
                    <a:gd name="T46" fmla="*/ 0 w 454"/>
                    <a:gd name="T47" fmla="*/ 1 h 60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454"/>
                    <a:gd name="T73" fmla="*/ 0 h 601"/>
                    <a:gd name="T74" fmla="*/ 454 w 454"/>
                    <a:gd name="T75" fmla="*/ 601 h 601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454" h="601">
                      <a:moveTo>
                        <a:pt x="0" y="61"/>
                      </a:moveTo>
                      <a:lnTo>
                        <a:pt x="32" y="123"/>
                      </a:lnTo>
                      <a:lnTo>
                        <a:pt x="11" y="262"/>
                      </a:lnTo>
                      <a:lnTo>
                        <a:pt x="32" y="277"/>
                      </a:lnTo>
                      <a:lnTo>
                        <a:pt x="24" y="295"/>
                      </a:lnTo>
                      <a:lnTo>
                        <a:pt x="2" y="352"/>
                      </a:lnTo>
                      <a:lnTo>
                        <a:pt x="42" y="433"/>
                      </a:lnTo>
                      <a:lnTo>
                        <a:pt x="65" y="598"/>
                      </a:lnTo>
                      <a:lnTo>
                        <a:pt x="93" y="601"/>
                      </a:lnTo>
                      <a:lnTo>
                        <a:pt x="135" y="549"/>
                      </a:lnTo>
                      <a:lnTo>
                        <a:pt x="203" y="591"/>
                      </a:lnTo>
                      <a:lnTo>
                        <a:pt x="209" y="563"/>
                      </a:lnTo>
                      <a:lnTo>
                        <a:pt x="272" y="574"/>
                      </a:lnTo>
                      <a:lnTo>
                        <a:pt x="293" y="456"/>
                      </a:lnTo>
                      <a:lnTo>
                        <a:pt x="406" y="433"/>
                      </a:lnTo>
                      <a:lnTo>
                        <a:pt x="441" y="472"/>
                      </a:lnTo>
                      <a:lnTo>
                        <a:pt x="454" y="381"/>
                      </a:lnTo>
                      <a:lnTo>
                        <a:pt x="431" y="302"/>
                      </a:lnTo>
                      <a:lnTo>
                        <a:pt x="366" y="298"/>
                      </a:lnTo>
                      <a:lnTo>
                        <a:pt x="342" y="180"/>
                      </a:lnTo>
                      <a:lnTo>
                        <a:pt x="170" y="100"/>
                      </a:lnTo>
                      <a:lnTo>
                        <a:pt x="159" y="0"/>
                      </a:lnTo>
                      <a:lnTo>
                        <a:pt x="46" y="6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" name="Freeform 254"/>
                <p:cNvSpPr/>
                <p:nvPr/>
              </p:nvSpPr>
              <p:spPr bwMode="auto">
                <a:xfrm>
                  <a:off x="6648298" y="3836342"/>
                  <a:ext cx="714323" cy="801954"/>
                </a:xfrm>
                <a:custGeom>
                  <a:avLst/>
                  <a:gdLst>
                    <a:gd name="T0" fmla="*/ 1 w 1487"/>
                    <a:gd name="T1" fmla="*/ 15 h 1768"/>
                    <a:gd name="T2" fmla="*/ 3 w 1487"/>
                    <a:gd name="T3" fmla="*/ 15 h 1768"/>
                    <a:gd name="T4" fmla="*/ 4 w 1487"/>
                    <a:gd name="T5" fmla="*/ 17 h 1768"/>
                    <a:gd name="T6" fmla="*/ 7 w 1487"/>
                    <a:gd name="T7" fmla="*/ 15 h 1768"/>
                    <a:gd name="T8" fmla="*/ 11 w 1487"/>
                    <a:gd name="T9" fmla="*/ 19 h 1768"/>
                    <a:gd name="T10" fmla="*/ 14 w 1487"/>
                    <a:gd name="T11" fmla="*/ 22 h 1768"/>
                    <a:gd name="T12" fmla="*/ 14 w 1487"/>
                    <a:gd name="T13" fmla="*/ 26 h 1768"/>
                    <a:gd name="T14" fmla="*/ 16 w 1487"/>
                    <a:gd name="T15" fmla="*/ 29 h 1768"/>
                    <a:gd name="T16" fmla="*/ 17 w 1487"/>
                    <a:gd name="T17" fmla="*/ 30 h 1768"/>
                    <a:gd name="T18" fmla="*/ 18 w 1487"/>
                    <a:gd name="T19" fmla="*/ 32 h 1768"/>
                    <a:gd name="T20" fmla="*/ 14 w 1487"/>
                    <a:gd name="T21" fmla="*/ 37 h 1768"/>
                    <a:gd name="T22" fmla="*/ 18 w 1487"/>
                    <a:gd name="T23" fmla="*/ 39 h 1768"/>
                    <a:gd name="T24" fmla="*/ 18 w 1487"/>
                    <a:gd name="T25" fmla="*/ 41 h 1768"/>
                    <a:gd name="T26" fmla="*/ 23 w 1487"/>
                    <a:gd name="T27" fmla="*/ 32 h 1768"/>
                    <a:gd name="T28" fmla="*/ 28 w 1487"/>
                    <a:gd name="T29" fmla="*/ 29 h 1768"/>
                    <a:gd name="T30" fmla="*/ 31 w 1487"/>
                    <a:gd name="T31" fmla="*/ 23 h 1768"/>
                    <a:gd name="T32" fmla="*/ 34 w 1487"/>
                    <a:gd name="T33" fmla="*/ 15 h 1768"/>
                    <a:gd name="T34" fmla="*/ 34 w 1487"/>
                    <a:gd name="T35" fmla="*/ 11 h 1768"/>
                    <a:gd name="T36" fmla="*/ 30 w 1487"/>
                    <a:gd name="T37" fmla="*/ 8 h 1768"/>
                    <a:gd name="T38" fmla="*/ 26 w 1487"/>
                    <a:gd name="T39" fmla="*/ 7 h 1768"/>
                    <a:gd name="T40" fmla="*/ 23 w 1487"/>
                    <a:gd name="T41" fmla="*/ 6 h 1768"/>
                    <a:gd name="T42" fmla="*/ 22 w 1487"/>
                    <a:gd name="T43" fmla="*/ 7 h 1768"/>
                    <a:gd name="T44" fmla="*/ 21 w 1487"/>
                    <a:gd name="T45" fmla="*/ 7 h 1768"/>
                    <a:gd name="T46" fmla="*/ 21 w 1487"/>
                    <a:gd name="T47" fmla="*/ 4 h 1768"/>
                    <a:gd name="T48" fmla="*/ 19 w 1487"/>
                    <a:gd name="T49" fmla="*/ 3 h 1768"/>
                    <a:gd name="T50" fmla="*/ 15 w 1487"/>
                    <a:gd name="T51" fmla="*/ 3 h 1768"/>
                    <a:gd name="T52" fmla="*/ 12 w 1487"/>
                    <a:gd name="T53" fmla="*/ 3 h 1768"/>
                    <a:gd name="T54" fmla="*/ 12 w 1487"/>
                    <a:gd name="T55" fmla="*/ 0 h 1768"/>
                    <a:gd name="T56" fmla="*/ 8 w 1487"/>
                    <a:gd name="T57" fmla="*/ 1 h 1768"/>
                    <a:gd name="T58" fmla="*/ 9 w 1487"/>
                    <a:gd name="T59" fmla="*/ 3 h 1768"/>
                    <a:gd name="T60" fmla="*/ 6 w 1487"/>
                    <a:gd name="T61" fmla="*/ 4 h 1768"/>
                    <a:gd name="T62" fmla="*/ 4 w 1487"/>
                    <a:gd name="T63" fmla="*/ 4 h 1768"/>
                    <a:gd name="T64" fmla="*/ 3 w 1487"/>
                    <a:gd name="T65" fmla="*/ 5 h 1768"/>
                    <a:gd name="T66" fmla="*/ 3 w 1487"/>
                    <a:gd name="T67" fmla="*/ 9 h 1768"/>
                    <a:gd name="T68" fmla="*/ 0 w 1487"/>
                    <a:gd name="T69" fmla="*/ 13 h 1768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1487"/>
                    <a:gd name="T106" fmla="*/ 0 h 1768"/>
                    <a:gd name="T107" fmla="*/ 1487 w 1487"/>
                    <a:gd name="T108" fmla="*/ 1768 h 1768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1487" h="1768">
                      <a:moveTo>
                        <a:pt x="0" y="559"/>
                      </a:moveTo>
                      <a:lnTo>
                        <a:pt x="31" y="642"/>
                      </a:lnTo>
                      <a:lnTo>
                        <a:pt x="82" y="670"/>
                      </a:lnTo>
                      <a:lnTo>
                        <a:pt x="125" y="637"/>
                      </a:lnTo>
                      <a:lnTo>
                        <a:pt x="125" y="712"/>
                      </a:lnTo>
                      <a:lnTo>
                        <a:pt x="157" y="712"/>
                      </a:lnTo>
                      <a:lnTo>
                        <a:pt x="203" y="716"/>
                      </a:lnTo>
                      <a:lnTo>
                        <a:pt x="316" y="651"/>
                      </a:lnTo>
                      <a:lnTo>
                        <a:pt x="327" y="751"/>
                      </a:lnTo>
                      <a:lnTo>
                        <a:pt x="499" y="831"/>
                      </a:lnTo>
                      <a:lnTo>
                        <a:pt x="523" y="949"/>
                      </a:lnTo>
                      <a:lnTo>
                        <a:pt x="588" y="953"/>
                      </a:lnTo>
                      <a:lnTo>
                        <a:pt x="611" y="1032"/>
                      </a:lnTo>
                      <a:lnTo>
                        <a:pt x="598" y="1123"/>
                      </a:lnTo>
                      <a:lnTo>
                        <a:pt x="606" y="1214"/>
                      </a:lnTo>
                      <a:lnTo>
                        <a:pt x="689" y="1227"/>
                      </a:lnTo>
                      <a:lnTo>
                        <a:pt x="699" y="1289"/>
                      </a:lnTo>
                      <a:lnTo>
                        <a:pt x="740" y="1302"/>
                      </a:lnTo>
                      <a:lnTo>
                        <a:pt x="734" y="1379"/>
                      </a:lnTo>
                      <a:lnTo>
                        <a:pt x="760" y="1381"/>
                      </a:lnTo>
                      <a:lnTo>
                        <a:pt x="766" y="1449"/>
                      </a:lnTo>
                      <a:lnTo>
                        <a:pt x="617" y="1598"/>
                      </a:lnTo>
                      <a:lnTo>
                        <a:pt x="648" y="1590"/>
                      </a:lnTo>
                      <a:lnTo>
                        <a:pt x="760" y="1684"/>
                      </a:lnTo>
                      <a:lnTo>
                        <a:pt x="785" y="1721"/>
                      </a:lnTo>
                      <a:lnTo>
                        <a:pt x="775" y="1768"/>
                      </a:lnTo>
                      <a:lnTo>
                        <a:pt x="959" y="1503"/>
                      </a:lnTo>
                      <a:lnTo>
                        <a:pt x="969" y="1372"/>
                      </a:lnTo>
                      <a:lnTo>
                        <a:pt x="1112" y="1252"/>
                      </a:lnTo>
                      <a:lnTo>
                        <a:pt x="1205" y="1252"/>
                      </a:lnTo>
                      <a:lnTo>
                        <a:pt x="1245" y="1210"/>
                      </a:lnTo>
                      <a:lnTo>
                        <a:pt x="1320" y="1009"/>
                      </a:lnTo>
                      <a:lnTo>
                        <a:pt x="1330" y="811"/>
                      </a:lnTo>
                      <a:lnTo>
                        <a:pt x="1473" y="623"/>
                      </a:lnTo>
                      <a:lnTo>
                        <a:pt x="1487" y="541"/>
                      </a:lnTo>
                      <a:lnTo>
                        <a:pt x="1465" y="459"/>
                      </a:lnTo>
                      <a:lnTo>
                        <a:pt x="1406" y="449"/>
                      </a:lnTo>
                      <a:lnTo>
                        <a:pt x="1309" y="363"/>
                      </a:lnTo>
                      <a:lnTo>
                        <a:pt x="1120" y="347"/>
                      </a:lnTo>
                      <a:lnTo>
                        <a:pt x="1105" y="295"/>
                      </a:lnTo>
                      <a:lnTo>
                        <a:pt x="1019" y="256"/>
                      </a:lnTo>
                      <a:lnTo>
                        <a:pt x="983" y="257"/>
                      </a:lnTo>
                      <a:lnTo>
                        <a:pt x="932" y="336"/>
                      </a:lnTo>
                      <a:lnTo>
                        <a:pt x="931" y="309"/>
                      </a:lnTo>
                      <a:lnTo>
                        <a:pt x="852" y="321"/>
                      </a:lnTo>
                      <a:lnTo>
                        <a:pt x="886" y="307"/>
                      </a:lnTo>
                      <a:lnTo>
                        <a:pt x="854" y="245"/>
                      </a:lnTo>
                      <a:lnTo>
                        <a:pt x="914" y="160"/>
                      </a:lnTo>
                      <a:lnTo>
                        <a:pt x="851" y="50"/>
                      </a:lnTo>
                      <a:lnTo>
                        <a:pt x="796" y="137"/>
                      </a:lnTo>
                      <a:lnTo>
                        <a:pt x="744" y="132"/>
                      </a:lnTo>
                      <a:lnTo>
                        <a:pt x="660" y="144"/>
                      </a:lnTo>
                      <a:lnTo>
                        <a:pt x="554" y="161"/>
                      </a:lnTo>
                      <a:lnTo>
                        <a:pt x="531" y="115"/>
                      </a:lnTo>
                      <a:lnTo>
                        <a:pt x="538" y="31"/>
                      </a:lnTo>
                      <a:lnTo>
                        <a:pt x="509" y="0"/>
                      </a:lnTo>
                      <a:lnTo>
                        <a:pt x="409" y="53"/>
                      </a:lnTo>
                      <a:lnTo>
                        <a:pt x="347" y="37"/>
                      </a:lnTo>
                      <a:lnTo>
                        <a:pt x="363" y="122"/>
                      </a:lnTo>
                      <a:lnTo>
                        <a:pt x="401" y="133"/>
                      </a:lnTo>
                      <a:lnTo>
                        <a:pt x="306" y="192"/>
                      </a:lnTo>
                      <a:lnTo>
                        <a:pt x="265" y="171"/>
                      </a:lnTo>
                      <a:lnTo>
                        <a:pt x="243" y="141"/>
                      </a:lnTo>
                      <a:lnTo>
                        <a:pt x="155" y="157"/>
                      </a:lnTo>
                      <a:lnTo>
                        <a:pt x="181" y="202"/>
                      </a:lnTo>
                      <a:lnTo>
                        <a:pt x="144" y="205"/>
                      </a:lnTo>
                      <a:lnTo>
                        <a:pt x="165" y="284"/>
                      </a:lnTo>
                      <a:lnTo>
                        <a:pt x="148" y="410"/>
                      </a:lnTo>
                      <a:lnTo>
                        <a:pt x="51" y="458"/>
                      </a:lnTo>
                      <a:lnTo>
                        <a:pt x="0" y="55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" name="Freeform 255"/>
                <p:cNvSpPr/>
                <p:nvPr/>
              </p:nvSpPr>
              <p:spPr bwMode="auto">
                <a:xfrm>
                  <a:off x="6368633" y="3565841"/>
                  <a:ext cx="13478" cy="52509"/>
                </a:xfrm>
                <a:custGeom>
                  <a:avLst/>
                  <a:gdLst>
                    <a:gd name="T0" fmla="*/ 0 w 31"/>
                    <a:gd name="T1" fmla="*/ 1 h 115"/>
                    <a:gd name="T2" fmla="*/ 0 w 31"/>
                    <a:gd name="T3" fmla="*/ 3 h 115"/>
                    <a:gd name="T4" fmla="*/ 1 w 31"/>
                    <a:gd name="T5" fmla="*/ 0 h 115"/>
                    <a:gd name="T6" fmla="*/ 0 w 31"/>
                    <a:gd name="T7" fmla="*/ 1 h 11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"/>
                    <a:gd name="T13" fmla="*/ 0 h 115"/>
                    <a:gd name="T14" fmla="*/ 31 w 31"/>
                    <a:gd name="T15" fmla="*/ 115 h 11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" h="115">
                      <a:moveTo>
                        <a:pt x="0" y="25"/>
                      </a:moveTo>
                      <a:lnTo>
                        <a:pt x="11" y="115"/>
                      </a:lnTo>
                      <a:lnTo>
                        <a:pt x="31" y="0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" name="Freeform 256"/>
                <p:cNvSpPr/>
                <p:nvPr/>
              </p:nvSpPr>
              <p:spPr bwMode="auto">
                <a:xfrm>
                  <a:off x="5416765" y="2175152"/>
                  <a:ext cx="1565108" cy="873557"/>
                </a:xfrm>
                <a:custGeom>
                  <a:avLst/>
                  <a:gdLst>
                    <a:gd name="T0" fmla="*/ 6 w 3259"/>
                    <a:gd name="T1" fmla="*/ 5 h 1930"/>
                    <a:gd name="T2" fmla="*/ 9 w 3259"/>
                    <a:gd name="T3" fmla="*/ 5 h 1930"/>
                    <a:gd name="T4" fmla="*/ 13 w 3259"/>
                    <a:gd name="T5" fmla="*/ 5 h 1930"/>
                    <a:gd name="T6" fmla="*/ 21 w 3259"/>
                    <a:gd name="T7" fmla="*/ 5 h 1930"/>
                    <a:gd name="T8" fmla="*/ 23 w 3259"/>
                    <a:gd name="T9" fmla="*/ 7 h 1930"/>
                    <a:gd name="T10" fmla="*/ 30 w 3259"/>
                    <a:gd name="T11" fmla="*/ 9 h 1930"/>
                    <a:gd name="T12" fmla="*/ 29 w 3259"/>
                    <a:gd name="T13" fmla="*/ 7 h 1930"/>
                    <a:gd name="T14" fmla="*/ 34 w 3259"/>
                    <a:gd name="T15" fmla="*/ 8 h 1930"/>
                    <a:gd name="T16" fmla="*/ 39 w 3259"/>
                    <a:gd name="T17" fmla="*/ 7 h 1930"/>
                    <a:gd name="T18" fmla="*/ 39 w 3259"/>
                    <a:gd name="T19" fmla="*/ 7 h 1930"/>
                    <a:gd name="T20" fmla="*/ 40 w 3259"/>
                    <a:gd name="T21" fmla="*/ 7 h 1930"/>
                    <a:gd name="T22" fmla="*/ 42 w 3259"/>
                    <a:gd name="T23" fmla="*/ 5 h 1930"/>
                    <a:gd name="T24" fmla="*/ 40 w 3259"/>
                    <a:gd name="T25" fmla="*/ 0 h 1930"/>
                    <a:gd name="T26" fmla="*/ 43 w 3259"/>
                    <a:gd name="T27" fmla="*/ 3 h 1930"/>
                    <a:gd name="T28" fmla="*/ 44 w 3259"/>
                    <a:gd name="T29" fmla="*/ 5 h 1930"/>
                    <a:gd name="T30" fmla="*/ 47 w 3259"/>
                    <a:gd name="T31" fmla="*/ 7 h 1930"/>
                    <a:gd name="T32" fmla="*/ 49 w 3259"/>
                    <a:gd name="T33" fmla="*/ 6 h 1930"/>
                    <a:gd name="T34" fmla="*/ 53 w 3259"/>
                    <a:gd name="T35" fmla="*/ 5 h 1930"/>
                    <a:gd name="T36" fmla="*/ 53 w 3259"/>
                    <a:gd name="T37" fmla="*/ 9 h 1930"/>
                    <a:gd name="T38" fmla="*/ 48 w 3259"/>
                    <a:gd name="T39" fmla="*/ 10 h 1930"/>
                    <a:gd name="T40" fmla="*/ 46 w 3259"/>
                    <a:gd name="T41" fmla="*/ 12 h 1930"/>
                    <a:gd name="T42" fmla="*/ 44 w 3259"/>
                    <a:gd name="T43" fmla="*/ 15 h 1930"/>
                    <a:gd name="T44" fmla="*/ 43 w 3259"/>
                    <a:gd name="T45" fmla="*/ 16 h 1930"/>
                    <a:gd name="T46" fmla="*/ 41 w 3259"/>
                    <a:gd name="T47" fmla="*/ 18 h 1930"/>
                    <a:gd name="T48" fmla="*/ 43 w 3259"/>
                    <a:gd name="T49" fmla="*/ 24 h 1930"/>
                    <a:gd name="T50" fmla="*/ 49 w 3259"/>
                    <a:gd name="T51" fmla="*/ 28 h 1930"/>
                    <a:gd name="T52" fmla="*/ 52 w 3259"/>
                    <a:gd name="T53" fmla="*/ 31 h 1930"/>
                    <a:gd name="T54" fmla="*/ 54 w 3259"/>
                    <a:gd name="T55" fmla="*/ 33 h 1930"/>
                    <a:gd name="T56" fmla="*/ 57 w 3259"/>
                    <a:gd name="T57" fmla="*/ 26 h 1930"/>
                    <a:gd name="T58" fmla="*/ 56 w 3259"/>
                    <a:gd name="T59" fmla="*/ 21 h 1930"/>
                    <a:gd name="T60" fmla="*/ 56 w 3259"/>
                    <a:gd name="T61" fmla="*/ 18 h 1930"/>
                    <a:gd name="T62" fmla="*/ 59 w 3259"/>
                    <a:gd name="T63" fmla="*/ 16 h 1930"/>
                    <a:gd name="T64" fmla="*/ 63 w 3259"/>
                    <a:gd name="T65" fmla="*/ 20 h 1930"/>
                    <a:gd name="T66" fmla="*/ 62 w 3259"/>
                    <a:gd name="T67" fmla="*/ 22 h 1930"/>
                    <a:gd name="T68" fmla="*/ 65 w 3259"/>
                    <a:gd name="T69" fmla="*/ 22 h 1930"/>
                    <a:gd name="T70" fmla="*/ 67 w 3259"/>
                    <a:gd name="T71" fmla="*/ 21 h 1930"/>
                    <a:gd name="T72" fmla="*/ 68 w 3259"/>
                    <a:gd name="T73" fmla="*/ 22 h 1930"/>
                    <a:gd name="T74" fmla="*/ 69 w 3259"/>
                    <a:gd name="T75" fmla="*/ 22 h 1930"/>
                    <a:gd name="T76" fmla="*/ 70 w 3259"/>
                    <a:gd name="T77" fmla="*/ 24 h 1930"/>
                    <a:gd name="T78" fmla="*/ 70 w 3259"/>
                    <a:gd name="T79" fmla="*/ 26 h 1930"/>
                    <a:gd name="T80" fmla="*/ 74 w 3259"/>
                    <a:gd name="T81" fmla="*/ 28 h 1930"/>
                    <a:gd name="T82" fmla="*/ 74 w 3259"/>
                    <a:gd name="T83" fmla="*/ 30 h 1930"/>
                    <a:gd name="T84" fmla="*/ 76 w 3259"/>
                    <a:gd name="T85" fmla="*/ 31 h 1930"/>
                    <a:gd name="T86" fmla="*/ 62 w 3259"/>
                    <a:gd name="T87" fmla="*/ 38 h 1930"/>
                    <a:gd name="T88" fmla="*/ 66 w 3259"/>
                    <a:gd name="T89" fmla="*/ 37 h 1930"/>
                    <a:gd name="T90" fmla="*/ 70 w 3259"/>
                    <a:gd name="T91" fmla="*/ 40 h 1930"/>
                    <a:gd name="T92" fmla="*/ 71 w 3259"/>
                    <a:gd name="T93" fmla="*/ 40 h 1930"/>
                    <a:gd name="T94" fmla="*/ 69 w 3259"/>
                    <a:gd name="T95" fmla="*/ 40 h 1930"/>
                    <a:gd name="T96" fmla="*/ 65 w 3259"/>
                    <a:gd name="T97" fmla="*/ 40 h 1930"/>
                    <a:gd name="T98" fmla="*/ 58 w 3259"/>
                    <a:gd name="T99" fmla="*/ 41 h 1930"/>
                    <a:gd name="T100" fmla="*/ 55 w 3259"/>
                    <a:gd name="T101" fmla="*/ 43 h 1930"/>
                    <a:gd name="T102" fmla="*/ 52 w 3259"/>
                    <a:gd name="T103" fmla="*/ 43 h 1930"/>
                    <a:gd name="T104" fmla="*/ 54 w 3259"/>
                    <a:gd name="T105" fmla="*/ 41 h 1930"/>
                    <a:gd name="T106" fmla="*/ 50 w 3259"/>
                    <a:gd name="T107" fmla="*/ 37 h 1930"/>
                    <a:gd name="T108" fmla="*/ 48 w 3259"/>
                    <a:gd name="T109" fmla="*/ 36 h 1930"/>
                    <a:gd name="T110" fmla="*/ 41 w 3259"/>
                    <a:gd name="T111" fmla="*/ 35 h 1930"/>
                    <a:gd name="T112" fmla="*/ 15 w 3259"/>
                    <a:gd name="T113" fmla="*/ 34 h 1930"/>
                    <a:gd name="T114" fmla="*/ 11 w 3259"/>
                    <a:gd name="T115" fmla="*/ 31 h 1930"/>
                    <a:gd name="T116" fmla="*/ 10 w 3259"/>
                    <a:gd name="T117" fmla="*/ 26 h 1930"/>
                    <a:gd name="T118" fmla="*/ 3 w 3259"/>
                    <a:gd name="T119" fmla="*/ 21 h 1930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3259"/>
                    <a:gd name="T181" fmla="*/ 0 h 1930"/>
                    <a:gd name="T182" fmla="*/ 3259 w 3259"/>
                    <a:gd name="T183" fmla="*/ 1930 h 1930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3259" h="1930">
                      <a:moveTo>
                        <a:pt x="0" y="855"/>
                      </a:moveTo>
                      <a:lnTo>
                        <a:pt x="0" y="178"/>
                      </a:lnTo>
                      <a:lnTo>
                        <a:pt x="260" y="266"/>
                      </a:lnTo>
                      <a:lnTo>
                        <a:pt x="243" y="231"/>
                      </a:lnTo>
                      <a:lnTo>
                        <a:pt x="271" y="210"/>
                      </a:lnTo>
                      <a:lnTo>
                        <a:pt x="432" y="135"/>
                      </a:lnTo>
                      <a:lnTo>
                        <a:pt x="308" y="226"/>
                      </a:lnTo>
                      <a:lnTo>
                        <a:pt x="377" y="200"/>
                      </a:lnTo>
                      <a:lnTo>
                        <a:pt x="377" y="218"/>
                      </a:lnTo>
                      <a:lnTo>
                        <a:pt x="511" y="137"/>
                      </a:lnTo>
                      <a:lnTo>
                        <a:pt x="493" y="111"/>
                      </a:lnTo>
                      <a:lnTo>
                        <a:pt x="580" y="207"/>
                      </a:lnTo>
                      <a:lnTo>
                        <a:pt x="636" y="151"/>
                      </a:lnTo>
                      <a:lnTo>
                        <a:pt x="630" y="207"/>
                      </a:lnTo>
                      <a:lnTo>
                        <a:pt x="699" y="168"/>
                      </a:lnTo>
                      <a:lnTo>
                        <a:pt x="891" y="235"/>
                      </a:lnTo>
                      <a:lnTo>
                        <a:pt x="981" y="234"/>
                      </a:lnTo>
                      <a:lnTo>
                        <a:pt x="1029" y="275"/>
                      </a:lnTo>
                      <a:lnTo>
                        <a:pt x="972" y="310"/>
                      </a:lnTo>
                      <a:lnTo>
                        <a:pt x="1006" y="323"/>
                      </a:lnTo>
                      <a:lnTo>
                        <a:pt x="1181" y="306"/>
                      </a:lnTo>
                      <a:lnTo>
                        <a:pt x="1255" y="364"/>
                      </a:lnTo>
                      <a:lnTo>
                        <a:pt x="1268" y="402"/>
                      </a:lnTo>
                      <a:lnTo>
                        <a:pt x="1286" y="376"/>
                      </a:lnTo>
                      <a:lnTo>
                        <a:pt x="1255" y="323"/>
                      </a:lnTo>
                      <a:lnTo>
                        <a:pt x="1339" y="260"/>
                      </a:lnTo>
                      <a:lnTo>
                        <a:pt x="1256" y="300"/>
                      </a:lnTo>
                      <a:lnTo>
                        <a:pt x="1231" y="281"/>
                      </a:lnTo>
                      <a:lnTo>
                        <a:pt x="1330" y="234"/>
                      </a:lnTo>
                      <a:lnTo>
                        <a:pt x="1383" y="302"/>
                      </a:lnTo>
                      <a:lnTo>
                        <a:pt x="1441" y="300"/>
                      </a:lnTo>
                      <a:lnTo>
                        <a:pt x="1474" y="331"/>
                      </a:lnTo>
                      <a:lnTo>
                        <a:pt x="1628" y="323"/>
                      </a:lnTo>
                      <a:lnTo>
                        <a:pt x="1622" y="302"/>
                      </a:lnTo>
                      <a:lnTo>
                        <a:pt x="1668" y="342"/>
                      </a:lnTo>
                      <a:lnTo>
                        <a:pt x="1674" y="310"/>
                      </a:lnTo>
                      <a:lnTo>
                        <a:pt x="1639" y="321"/>
                      </a:lnTo>
                      <a:lnTo>
                        <a:pt x="1614" y="279"/>
                      </a:lnTo>
                      <a:lnTo>
                        <a:pt x="1672" y="275"/>
                      </a:lnTo>
                      <a:lnTo>
                        <a:pt x="1691" y="306"/>
                      </a:lnTo>
                      <a:lnTo>
                        <a:pt x="1714" y="296"/>
                      </a:lnTo>
                      <a:lnTo>
                        <a:pt x="1706" y="345"/>
                      </a:lnTo>
                      <a:lnTo>
                        <a:pt x="1746" y="369"/>
                      </a:lnTo>
                      <a:lnTo>
                        <a:pt x="1734" y="302"/>
                      </a:lnTo>
                      <a:lnTo>
                        <a:pt x="1810" y="262"/>
                      </a:lnTo>
                      <a:lnTo>
                        <a:pt x="1790" y="231"/>
                      </a:lnTo>
                      <a:lnTo>
                        <a:pt x="1768" y="253"/>
                      </a:lnTo>
                      <a:lnTo>
                        <a:pt x="1808" y="196"/>
                      </a:lnTo>
                      <a:lnTo>
                        <a:pt x="1696" y="154"/>
                      </a:lnTo>
                      <a:lnTo>
                        <a:pt x="1707" y="55"/>
                      </a:lnTo>
                      <a:lnTo>
                        <a:pt x="1734" y="57"/>
                      </a:lnTo>
                      <a:lnTo>
                        <a:pt x="1752" y="0"/>
                      </a:lnTo>
                      <a:lnTo>
                        <a:pt x="1832" y="55"/>
                      </a:lnTo>
                      <a:lnTo>
                        <a:pt x="1834" y="92"/>
                      </a:lnTo>
                      <a:lnTo>
                        <a:pt x="1891" y="143"/>
                      </a:lnTo>
                      <a:lnTo>
                        <a:pt x="1853" y="142"/>
                      </a:lnTo>
                      <a:lnTo>
                        <a:pt x="1869" y="160"/>
                      </a:lnTo>
                      <a:lnTo>
                        <a:pt x="1847" y="181"/>
                      </a:lnTo>
                      <a:lnTo>
                        <a:pt x="1913" y="196"/>
                      </a:lnTo>
                      <a:lnTo>
                        <a:pt x="1896" y="207"/>
                      </a:lnTo>
                      <a:lnTo>
                        <a:pt x="1935" y="291"/>
                      </a:lnTo>
                      <a:lnTo>
                        <a:pt x="1971" y="216"/>
                      </a:lnTo>
                      <a:lnTo>
                        <a:pt x="2017" y="243"/>
                      </a:lnTo>
                      <a:lnTo>
                        <a:pt x="2029" y="295"/>
                      </a:lnTo>
                      <a:lnTo>
                        <a:pt x="2007" y="310"/>
                      </a:lnTo>
                      <a:lnTo>
                        <a:pt x="2051" y="369"/>
                      </a:lnTo>
                      <a:lnTo>
                        <a:pt x="2077" y="356"/>
                      </a:lnTo>
                      <a:lnTo>
                        <a:pt x="2112" y="261"/>
                      </a:lnTo>
                      <a:lnTo>
                        <a:pt x="2152" y="252"/>
                      </a:lnTo>
                      <a:lnTo>
                        <a:pt x="2122" y="172"/>
                      </a:lnTo>
                      <a:lnTo>
                        <a:pt x="2229" y="180"/>
                      </a:lnTo>
                      <a:lnTo>
                        <a:pt x="2276" y="226"/>
                      </a:lnTo>
                      <a:lnTo>
                        <a:pt x="2258" y="249"/>
                      </a:lnTo>
                      <a:lnTo>
                        <a:pt x="2280" y="261"/>
                      </a:lnTo>
                      <a:lnTo>
                        <a:pt x="2230" y="276"/>
                      </a:lnTo>
                      <a:lnTo>
                        <a:pt x="2274" y="379"/>
                      </a:lnTo>
                      <a:lnTo>
                        <a:pt x="2203" y="431"/>
                      </a:lnTo>
                      <a:lnTo>
                        <a:pt x="2176" y="408"/>
                      </a:lnTo>
                      <a:lnTo>
                        <a:pt x="2186" y="444"/>
                      </a:lnTo>
                      <a:lnTo>
                        <a:pt x="2078" y="419"/>
                      </a:lnTo>
                      <a:lnTo>
                        <a:pt x="2101" y="453"/>
                      </a:lnTo>
                      <a:lnTo>
                        <a:pt x="2060" y="504"/>
                      </a:lnTo>
                      <a:lnTo>
                        <a:pt x="1945" y="464"/>
                      </a:lnTo>
                      <a:lnTo>
                        <a:pt x="1987" y="507"/>
                      </a:lnTo>
                      <a:lnTo>
                        <a:pt x="2067" y="515"/>
                      </a:lnTo>
                      <a:lnTo>
                        <a:pt x="2012" y="599"/>
                      </a:lnTo>
                      <a:lnTo>
                        <a:pt x="1953" y="595"/>
                      </a:lnTo>
                      <a:lnTo>
                        <a:pt x="1924" y="640"/>
                      </a:lnTo>
                      <a:lnTo>
                        <a:pt x="1818" y="603"/>
                      </a:lnTo>
                      <a:lnTo>
                        <a:pt x="1913" y="640"/>
                      </a:lnTo>
                      <a:lnTo>
                        <a:pt x="1928" y="675"/>
                      </a:lnTo>
                      <a:lnTo>
                        <a:pt x="1853" y="688"/>
                      </a:lnTo>
                      <a:lnTo>
                        <a:pt x="1869" y="698"/>
                      </a:lnTo>
                      <a:lnTo>
                        <a:pt x="1848" y="701"/>
                      </a:lnTo>
                      <a:lnTo>
                        <a:pt x="1848" y="736"/>
                      </a:lnTo>
                      <a:lnTo>
                        <a:pt x="1769" y="783"/>
                      </a:lnTo>
                      <a:lnTo>
                        <a:pt x="1757" y="937"/>
                      </a:lnTo>
                      <a:lnTo>
                        <a:pt x="1785" y="973"/>
                      </a:lnTo>
                      <a:lnTo>
                        <a:pt x="1826" y="952"/>
                      </a:lnTo>
                      <a:lnTo>
                        <a:pt x="1846" y="1070"/>
                      </a:lnTo>
                      <a:lnTo>
                        <a:pt x="1905" y="1047"/>
                      </a:lnTo>
                      <a:lnTo>
                        <a:pt x="1978" y="1079"/>
                      </a:lnTo>
                      <a:lnTo>
                        <a:pt x="2123" y="1166"/>
                      </a:lnTo>
                      <a:lnTo>
                        <a:pt x="2112" y="1200"/>
                      </a:lnTo>
                      <a:lnTo>
                        <a:pt x="2128" y="1175"/>
                      </a:lnTo>
                      <a:lnTo>
                        <a:pt x="2238" y="1184"/>
                      </a:lnTo>
                      <a:lnTo>
                        <a:pt x="2238" y="1311"/>
                      </a:lnTo>
                      <a:lnTo>
                        <a:pt x="2271" y="1355"/>
                      </a:lnTo>
                      <a:lnTo>
                        <a:pt x="2248" y="1365"/>
                      </a:lnTo>
                      <a:lnTo>
                        <a:pt x="2302" y="1388"/>
                      </a:lnTo>
                      <a:lnTo>
                        <a:pt x="2287" y="1428"/>
                      </a:lnTo>
                      <a:lnTo>
                        <a:pt x="2341" y="1426"/>
                      </a:lnTo>
                      <a:lnTo>
                        <a:pt x="2412" y="1358"/>
                      </a:lnTo>
                      <a:lnTo>
                        <a:pt x="2379" y="1342"/>
                      </a:lnTo>
                      <a:lnTo>
                        <a:pt x="2341" y="1219"/>
                      </a:lnTo>
                      <a:lnTo>
                        <a:pt x="2474" y="1112"/>
                      </a:lnTo>
                      <a:lnTo>
                        <a:pt x="2456" y="1112"/>
                      </a:lnTo>
                      <a:lnTo>
                        <a:pt x="2424" y="985"/>
                      </a:lnTo>
                      <a:lnTo>
                        <a:pt x="2375" y="952"/>
                      </a:lnTo>
                      <a:lnTo>
                        <a:pt x="2440" y="899"/>
                      </a:lnTo>
                      <a:lnTo>
                        <a:pt x="2418" y="871"/>
                      </a:lnTo>
                      <a:lnTo>
                        <a:pt x="2426" y="825"/>
                      </a:lnTo>
                      <a:lnTo>
                        <a:pt x="2401" y="818"/>
                      </a:lnTo>
                      <a:lnTo>
                        <a:pt x="2426" y="772"/>
                      </a:lnTo>
                      <a:lnTo>
                        <a:pt x="2397" y="741"/>
                      </a:lnTo>
                      <a:lnTo>
                        <a:pt x="2416" y="702"/>
                      </a:lnTo>
                      <a:lnTo>
                        <a:pt x="2516" y="729"/>
                      </a:lnTo>
                      <a:lnTo>
                        <a:pt x="2563" y="706"/>
                      </a:lnTo>
                      <a:lnTo>
                        <a:pt x="2652" y="772"/>
                      </a:lnTo>
                      <a:lnTo>
                        <a:pt x="2652" y="799"/>
                      </a:lnTo>
                      <a:lnTo>
                        <a:pt x="2726" y="803"/>
                      </a:lnTo>
                      <a:lnTo>
                        <a:pt x="2733" y="867"/>
                      </a:lnTo>
                      <a:lnTo>
                        <a:pt x="2666" y="870"/>
                      </a:lnTo>
                      <a:lnTo>
                        <a:pt x="2724" y="881"/>
                      </a:lnTo>
                      <a:lnTo>
                        <a:pt x="2743" y="918"/>
                      </a:lnTo>
                      <a:lnTo>
                        <a:pt x="2681" y="974"/>
                      </a:lnTo>
                      <a:lnTo>
                        <a:pt x="2770" y="947"/>
                      </a:lnTo>
                      <a:lnTo>
                        <a:pt x="2775" y="994"/>
                      </a:lnTo>
                      <a:lnTo>
                        <a:pt x="2736" y="1013"/>
                      </a:lnTo>
                      <a:lnTo>
                        <a:pt x="2792" y="964"/>
                      </a:lnTo>
                      <a:lnTo>
                        <a:pt x="2797" y="996"/>
                      </a:lnTo>
                      <a:lnTo>
                        <a:pt x="2849" y="950"/>
                      </a:lnTo>
                      <a:lnTo>
                        <a:pt x="2860" y="974"/>
                      </a:lnTo>
                      <a:lnTo>
                        <a:pt x="2894" y="906"/>
                      </a:lnTo>
                      <a:lnTo>
                        <a:pt x="2880" y="893"/>
                      </a:lnTo>
                      <a:lnTo>
                        <a:pt x="2922" y="855"/>
                      </a:lnTo>
                      <a:lnTo>
                        <a:pt x="2969" y="927"/>
                      </a:lnTo>
                      <a:lnTo>
                        <a:pt x="2928" y="943"/>
                      </a:lnTo>
                      <a:lnTo>
                        <a:pt x="2974" y="935"/>
                      </a:lnTo>
                      <a:lnTo>
                        <a:pt x="2989" y="963"/>
                      </a:lnTo>
                      <a:lnTo>
                        <a:pt x="2959" y="973"/>
                      </a:lnTo>
                      <a:lnTo>
                        <a:pt x="2997" y="978"/>
                      </a:lnTo>
                      <a:lnTo>
                        <a:pt x="2974" y="998"/>
                      </a:lnTo>
                      <a:lnTo>
                        <a:pt x="2998" y="994"/>
                      </a:lnTo>
                      <a:lnTo>
                        <a:pt x="3019" y="1024"/>
                      </a:lnTo>
                      <a:lnTo>
                        <a:pt x="3006" y="1040"/>
                      </a:lnTo>
                      <a:lnTo>
                        <a:pt x="3042" y="1066"/>
                      </a:lnTo>
                      <a:lnTo>
                        <a:pt x="2983" y="1092"/>
                      </a:lnTo>
                      <a:lnTo>
                        <a:pt x="3025" y="1092"/>
                      </a:lnTo>
                      <a:lnTo>
                        <a:pt x="3017" y="1116"/>
                      </a:lnTo>
                      <a:lnTo>
                        <a:pt x="3082" y="1140"/>
                      </a:lnTo>
                      <a:lnTo>
                        <a:pt x="3104" y="1198"/>
                      </a:lnTo>
                      <a:lnTo>
                        <a:pt x="3130" y="1177"/>
                      </a:lnTo>
                      <a:lnTo>
                        <a:pt x="3193" y="1216"/>
                      </a:lnTo>
                      <a:lnTo>
                        <a:pt x="3053" y="1267"/>
                      </a:lnTo>
                      <a:lnTo>
                        <a:pt x="3082" y="1296"/>
                      </a:lnTo>
                      <a:lnTo>
                        <a:pt x="3199" y="1238"/>
                      </a:lnTo>
                      <a:lnTo>
                        <a:pt x="3199" y="1286"/>
                      </a:lnTo>
                      <a:lnTo>
                        <a:pt x="3255" y="1278"/>
                      </a:lnTo>
                      <a:lnTo>
                        <a:pt x="3259" y="1301"/>
                      </a:lnTo>
                      <a:lnTo>
                        <a:pt x="3235" y="1301"/>
                      </a:lnTo>
                      <a:lnTo>
                        <a:pt x="3259" y="1361"/>
                      </a:lnTo>
                      <a:lnTo>
                        <a:pt x="3092" y="1473"/>
                      </a:lnTo>
                      <a:lnTo>
                        <a:pt x="2857" y="1473"/>
                      </a:lnTo>
                      <a:lnTo>
                        <a:pt x="2754" y="1551"/>
                      </a:lnTo>
                      <a:lnTo>
                        <a:pt x="2671" y="1665"/>
                      </a:lnTo>
                      <a:lnTo>
                        <a:pt x="2754" y="1577"/>
                      </a:lnTo>
                      <a:lnTo>
                        <a:pt x="2882" y="1528"/>
                      </a:lnTo>
                      <a:lnTo>
                        <a:pt x="2928" y="1566"/>
                      </a:lnTo>
                      <a:lnTo>
                        <a:pt x="2844" y="1599"/>
                      </a:lnTo>
                      <a:lnTo>
                        <a:pt x="2914" y="1614"/>
                      </a:lnTo>
                      <a:lnTo>
                        <a:pt x="2894" y="1649"/>
                      </a:lnTo>
                      <a:lnTo>
                        <a:pt x="2945" y="1714"/>
                      </a:lnTo>
                      <a:lnTo>
                        <a:pt x="3046" y="1737"/>
                      </a:lnTo>
                      <a:lnTo>
                        <a:pt x="3076" y="1656"/>
                      </a:lnTo>
                      <a:lnTo>
                        <a:pt x="3076" y="1707"/>
                      </a:lnTo>
                      <a:lnTo>
                        <a:pt x="3098" y="1700"/>
                      </a:lnTo>
                      <a:lnTo>
                        <a:pt x="3052" y="1750"/>
                      </a:lnTo>
                      <a:lnTo>
                        <a:pt x="2934" y="1785"/>
                      </a:lnTo>
                      <a:lnTo>
                        <a:pt x="2890" y="1848"/>
                      </a:lnTo>
                      <a:lnTo>
                        <a:pt x="2860" y="1794"/>
                      </a:lnTo>
                      <a:lnTo>
                        <a:pt x="2973" y="1746"/>
                      </a:lnTo>
                      <a:lnTo>
                        <a:pt x="2914" y="1749"/>
                      </a:lnTo>
                      <a:lnTo>
                        <a:pt x="2922" y="1714"/>
                      </a:lnTo>
                      <a:lnTo>
                        <a:pt x="2826" y="1753"/>
                      </a:lnTo>
                      <a:lnTo>
                        <a:pt x="2797" y="1729"/>
                      </a:lnTo>
                      <a:lnTo>
                        <a:pt x="2797" y="1656"/>
                      </a:lnTo>
                      <a:lnTo>
                        <a:pt x="2735" y="1634"/>
                      </a:lnTo>
                      <a:lnTo>
                        <a:pt x="2687" y="1750"/>
                      </a:lnTo>
                      <a:lnTo>
                        <a:pt x="2493" y="1794"/>
                      </a:lnTo>
                      <a:lnTo>
                        <a:pt x="2358" y="1838"/>
                      </a:lnTo>
                      <a:lnTo>
                        <a:pt x="2339" y="1860"/>
                      </a:lnTo>
                      <a:lnTo>
                        <a:pt x="2366" y="1865"/>
                      </a:lnTo>
                      <a:lnTo>
                        <a:pt x="2373" y="1883"/>
                      </a:lnTo>
                      <a:lnTo>
                        <a:pt x="2210" y="1930"/>
                      </a:lnTo>
                      <a:lnTo>
                        <a:pt x="2218" y="1907"/>
                      </a:lnTo>
                      <a:lnTo>
                        <a:pt x="2230" y="1892"/>
                      </a:lnTo>
                      <a:lnTo>
                        <a:pt x="2237" y="1871"/>
                      </a:lnTo>
                      <a:lnTo>
                        <a:pt x="2263" y="1853"/>
                      </a:lnTo>
                      <a:lnTo>
                        <a:pt x="2265" y="1750"/>
                      </a:lnTo>
                      <a:lnTo>
                        <a:pt x="2296" y="1785"/>
                      </a:lnTo>
                      <a:lnTo>
                        <a:pt x="2342" y="1772"/>
                      </a:lnTo>
                      <a:lnTo>
                        <a:pt x="2300" y="1714"/>
                      </a:lnTo>
                      <a:lnTo>
                        <a:pt x="2162" y="1684"/>
                      </a:lnTo>
                      <a:lnTo>
                        <a:pt x="2155" y="1684"/>
                      </a:lnTo>
                      <a:lnTo>
                        <a:pt x="2139" y="1602"/>
                      </a:lnTo>
                      <a:lnTo>
                        <a:pt x="2112" y="1607"/>
                      </a:lnTo>
                      <a:lnTo>
                        <a:pt x="2088" y="1560"/>
                      </a:lnTo>
                      <a:lnTo>
                        <a:pt x="2060" y="1557"/>
                      </a:lnTo>
                      <a:lnTo>
                        <a:pt x="2060" y="1584"/>
                      </a:lnTo>
                      <a:lnTo>
                        <a:pt x="2020" y="1545"/>
                      </a:lnTo>
                      <a:lnTo>
                        <a:pt x="1956" y="1602"/>
                      </a:lnTo>
                      <a:lnTo>
                        <a:pt x="1773" y="1560"/>
                      </a:lnTo>
                      <a:lnTo>
                        <a:pt x="1753" y="1520"/>
                      </a:lnTo>
                      <a:lnTo>
                        <a:pt x="1752" y="1546"/>
                      </a:lnTo>
                      <a:lnTo>
                        <a:pt x="698" y="1546"/>
                      </a:lnTo>
                      <a:lnTo>
                        <a:pt x="682" y="1501"/>
                      </a:lnTo>
                      <a:lnTo>
                        <a:pt x="626" y="1488"/>
                      </a:lnTo>
                      <a:lnTo>
                        <a:pt x="629" y="1459"/>
                      </a:lnTo>
                      <a:lnTo>
                        <a:pt x="511" y="1422"/>
                      </a:lnTo>
                      <a:lnTo>
                        <a:pt x="525" y="1400"/>
                      </a:lnTo>
                      <a:lnTo>
                        <a:pt x="496" y="1346"/>
                      </a:lnTo>
                      <a:lnTo>
                        <a:pt x="466" y="1342"/>
                      </a:lnTo>
                      <a:lnTo>
                        <a:pt x="403" y="1225"/>
                      </a:lnTo>
                      <a:lnTo>
                        <a:pt x="415" y="1189"/>
                      </a:lnTo>
                      <a:lnTo>
                        <a:pt x="418" y="1127"/>
                      </a:lnTo>
                      <a:lnTo>
                        <a:pt x="347" y="1092"/>
                      </a:lnTo>
                      <a:lnTo>
                        <a:pt x="210" y="887"/>
                      </a:lnTo>
                      <a:lnTo>
                        <a:pt x="135" y="945"/>
                      </a:lnTo>
                      <a:lnTo>
                        <a:pt x="112" y="917"/>
                      </a:lnTo>
                      <a:lnTo>
                        <a:pt x="107" y="912"/>
                      </a:lnTo>
                      <a:lnTo>
                        <a:pt x="72" y="855"/>
                      </a:lnTo>
                      <a:lnTo>
                        <a:pt x="0" y="85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" name="Freeform 257"/>
                <p:cNvSpPr/>
                <p:nvPr/>
              </p:nvSpPr>
              <p:spPr bwMode="auto">
                <a:xfrm>
                  <a:off x="5650941" y="2829126"/>
                  <a:ext cx="90975" cy="57282"/>
                </a:xfrm>
                <a:custGeom>
                  <a:avLst/>
                  <a:gdLst>
                    <a:gd name="T0" fmla="*/ 0 w 191"/>
                    <a:gd name="T1" fmla="*/ 0 h 128"/>
                    <a:gd name="T2" fmla="*/ 2 w 191"/>
                    <a:gd name="T3" fmla="*/ 1 h 128"/>
                    <a:gd name="T4" fmla="*/ 4 w 191"/>
                    <a:gd name="T5" fmla="*/ 3 h 128"/>
                    <a:gd name="T6" fmla="*/ 3 w 191"/>
                    <a:gd name="T7" fmla="*/ 3 h 128"/>
                    <a:gd name="T8" fmla="*/ 0 w 191"/>
                    <a:gd name="T9" fmla="*/ 0 h 1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91"/>
                    <a:gd name="T16" fmla="*/ 0 h 128"/>
                    <a:gd name="T17" fmla="*/ 191 w 191"/>
                    <a:gd name="T18" fmla="*/ 128 h 12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91" h="128">
                      <a:moveTo>
                        <a:pt x="0" y="0"/>
                      </a:moveTo>
                      <a:lnTo>
                        <a:pt x="103" y="27"/>
                      </a:lnTo>
                      <a:lnTo>
                        <a:pt x="191" y="128"/>
                      </a:lnTo>
                      <a:lnTo>
                        <a:pt x="140" y="10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" name="Freeform 258"/>
                <p:cNvSpPr/>
                <p:nvPr/>
              </p:nvSpPr>
              <p:spPr bwMode="auto">
                <a:xfrm>
                  <a:off x="5693059" y="2073316"/>
                  <a:ext cx="192058" cy="132068"/>
                </a:xfrm>
                <a:custGeom>
                  <a:avLst/>
                  <a:gdLst>
                    <a:gd name="T0" fmla="*/ 0 w 399"/>
                    <a:gd name="T1" fmla="*/ 5 h 289"/>
                    <a:gd name="T2" fmla="*/ 0 w 399"/>
                    <a:gd name="T3" fmla="*/ 4 h 289"/>
                    <a:gd name="T4" fmla="*/ 2 w 399"/>
                    <a:gd name="T5" fmla="*/ 1 h 289"/>
                    <a:gd name="T6" fmla="*/ 1 w 399"/>
                    <a:gd name="T7" fmla="*/ 0 h 289"/>
                    <a:gd name="T8" fmla="*/ 4 w 399"/>
                    <a:gd name="T9" fmla="*/ 0 h 289"/>
                    <a:gd name="T10" fmla="*/ 6 w 399"/>
                    <a:gd name="T11" fmla="*/ 1 h 289"/>
                    <a:gd name="T12" fmla="*/ 7 w 399"/>
                    <a:gd name="T13" fmla="*/ 1 h 289"/>
                    <a:gd name="T14" fmla="*/ 9 w 399"/>
                    <a:gd name="T15" fmla="*/ 2 h 289"/>
                    <a:gd name="T16" fmla="*/ 5 w 399"/>
                    <a:gd name="T17" fmla="*/ 5 h 289"/>
                    <a:gd name="T18" fmla="*/ 5 w 399"/>
                    <a:gd name="T19" fmla="*/ 6 h 289"/>
                    <a:gd name="T20" fmla="*/ 3 w 399"/>
                    <a:gd name="T21" fmla="*/ 7 h 289"/>
                    <a:gd name="T22" fmla="*/ 2 w 399"/>
                    <a:gd name="T23" fmla="*/ 6 h 289"/>
                    <a:gd name="T24" fmla="*/ 0 w 399"/>
                    <a:gd name="T25" fmla="*/ 5 h 289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99"/>
                    <a:gd name="T40" fmla="*/ 0 h 289"/>
                    <a:gd name="T41" fmla="*/ 399 w 399"/>
                    <a:gd name="T42" fmla="*/ 289 h 289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99" h="289">
                      <a:moveTo>
                        <a:pt x="0" y="220"/>
                      </a:moveTo>
                      <a:lnTo>
                        <a:pt x="15" y="182"/>
                      </a:lnTo>
                      <a:lnTo>
                        <a:pt x="76" y="63"/>
                      </a:lnTo>
                      <a:lnTo>
                        <a:pt x="47" y="11"/>
                      </a:lnTo>
                      <a:lnTo>
                        <a:pt x="171" y="0"/>
                      </a:lnTo>
                      <a:lnTo>
                        <a:pt x="257" y="48"/>
                      </a:lnTo>
                      <a:lnTo>
                        <a:pt x="312" y="21"/>
                      </a:lnTo>
                      <a:lnTo>
                        <a:pt x="399" y="88"/>
                      </a:lnTo>
                      <a:lnTo>
                        <a:pt x="217" y="195"/>
                      </a:lnTo>
                      <a:lnTo>
                        <a:pt x="200" y="259"/>
                      </a:lnTo>
                      <a:lnTo>
                        <a:pt x="112" y="289"/>
                      </a:lnTo>
                      <a:lnTo>
                        <a:pt x="70" y="239"/>
                      </a:lnTo>
                      <a:lnTo>
                        <a:pt x="0" y="22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" name="Freeform 259"/>
                <p:cNvSpPr/>
                <p:nvPr/>
              </p:nvSpPr>
              <p:spPr bwMode="auto">
                <a:xfrm>
                  <a:off x="5750340" y="1952387"/>
                  <a:ext cx="133093" cy="73194"/>
                </a:xfrm>
                <a:custGeom>
                  <a:avLst/>
                  <a:gdLst>
                    <a:gd name="T0" fmla="*/ 0 w 279"/>
                    <a:gd name="T1" fmla="*/ 3 h 161"/>
                    <a:gd name="T2" fmla="*/ 1 w 279"/>
                    <a:gd name="T3" fmla="*/ 3 h 161"/>
                    <a:gd name="T4" fmla="*/ 2 w 279"/>
                    <a:gd name="T5" fmla="*/ 3 h 161"/>
                    <a:gd name="T6" fmla="*/ 2 w 279"/>
                    <a:gd name="T7" fmla="*/ 4 h 161"/>
                    <a:gd name="T8" fmla="*/ 3 w 279"/>
                    <a:gd name="T9" fmla="*/ 3 h 161"/>
                    <a:gd name="T10" fmla="*/ 3 w 279"/>
                    <a:gd name="T11" fmla="*/ 3 h 161"/>
                    <a:gd name="T12" fmla="*/ 3 w 279"/>
                    <a:gd name="T13" fmla="*/ 3 h 161"/>
                    <a:gd name="T14" fmla="*/ 4 w 279"/>
                    <a:gd name="T15" fmla="*/ 2 h 161"/>
                    <a:gd name="T16" fmla="*/ 4 w 279"/>
                    <a:gd name="T17" fmla="*/ 1 h 161"/>
                    <a:gd name="T18" fmla="*/ 5 w 279"/>
                    <a:gd name="T19" fmla="*/ 3 h 161"/>
                    <a:gd name="T20" fmla="*/ 6 w 279"/>
                    <a:gd name="T21" fmla="*/ 2 h 161"/>
                    <a:gd name="T22" fmla="*/ 5 w 279"/>
                    <a:gd name="T23" fmla="*/ 1 h 161"/>
                    <a:gd name="T24" fmla="*/ 6 w 279"/>
                    <a:gd name="T25" fmla="*/ 1 h 161"/>
                    <a:gd name="T26" fmla="*/ 5 w 279"/>
                    <a:gd name="T27" fmla="*/ 0 h 161"/>
                    <a:gd name="T28" fmla="*/ 3 w 279"/>
                    <a:gd name="T29" fmla="*/ 1 h 161"/>
                    <a:gd name="T30" fmla="*/ 0 w 279"/>
                    <a:gd name="T31" fmla="*/ 3 h 161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79"/>
                    <a:gd name="T49" fmla="*/ 0 h 161"/>
                    <a:gd name="T50" fmla="*/ 279 w 279"/>
                    <a:gd name="T51" fmla="*/ 161 h 161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79" h="161">
                      <a:moveTo>
                        <a:pt x="0" y="125"/>
                      </a:moveTo>
                      <a:lnTo>
                        <a:pt x="62" y="148"/>
                      </a:lnTo>
                      <a:lnTo>
                        <a:pt x="78" y="122"/>
                      </a:lnTo>
                      <a:lnTo>
                        <a:pt x="93" y="161"/>
                      </a:lnTo>
                      <a:lnTo>
                        <a:pt x="122" y="146"/>
                      </a:lnTo>
                      <a:lnTo>
                        <a:pt x="116" y="108"/>
                      </a:lnTo>
                      <a:lnTo>
                        <a:pt x="147" y="130"/>
                      </a:lnTo>
                      <a:lnTo>
                        <a:pt x="164" y="72"/>
                      </a:lnTo>
                      <a:lnTo>
                        <a:pt x="189" y="67"/>
                      </a:lnTo>
                      <a:lnTo>
                        <a:pt x="198" y="121"/>
                      </a:lnTo>
                      <a:lnTo>
                        <a:pt x="258" y="80"/>
                      </a:lnTo>
                      <a:lnTo>
                        <a:pt x="241" y="33"/>
                      </a:lnTo>
                      <a:lnTo>
                        <a:pt x="279" y="23"/>
                      </a:lnTo>
                      <a:lnTo>
                        <a:pt x="240" y="0"/>
                      </a:lnTo>
                      <a:lnTo>
                        <a:pt x="136" y="23"/>
                      </a:lnTo>
                      <a:lnTo>
                        <a:pt x="0" y="12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" name="Freeform 260"/>
                <p:cNvSpPr/>
                <p:nvPr/>
              </p:nvSpPr>
              <p:spPr bwMode="auto">
                <a:xfrm>
                  <a:off x="5821098" y="2121052"/>
                  <a:ext cx="328521" cy="178212"/>
                </a:xfrm>
                <a:custGeom>
                  <a:avLst/>
                  <a:gdLst>
                    <a:gd name="T0" fmla="*/ 0 w 688"/>
                    <a:gd name="T1" fmla="*/ 3 h 394"/>
                    <a:gd name="T2" fmla="*/ 1 w 688"/>
                    <a:gd name="T3" fmla="*/ 2 h 394"/>
                    <a:gd name="T4" fmla="*/ 0 w 688"/>
                    <a:gd name="T5" fmla="*/ 2 h 394"/>
                    <a:gd name="T6" fmla="*/ 2 w 688"/>
                    <a:gd name="T7" fmla="*/ 1 h 394"/>
                    <a:gd name="T8" fmla="*/ 4 w 688"/>
                    <a:gd name="T9" fmla="*/ 0 h 394"/>
                    <a:gd name="T10" fmla="*/ 4 w 688"/>
                    <a:gd name="T11" fmla="*/ 1 h 394"/>
                    <a:gd name="T12" fmla="*/ 4 w 688"/>
                    <a:gd name="T13" fmla="*/ 1 h 394"/>
                    <a:gd name="T14" fmla="*/ 5 w 688"/>
                    <a:gd name="T15" fmla="*/ 1 h 394"/>
                    <a:gd name="T16" fmla="*/ 7 w 688"/>
                    <a:gd name="T17" fmla="*/ 1 h 394"/>
                    <a:gd name="T18" fmla="*/ 6 w 688"/>
                    <a:gd name="T19" fmla="*/ 2 h 394"/>
                    <a:gd name="T20" fmla="*/ 8 w 688"/>
                    <a:gd name="T21" fmla="*/ 2 h 394"/>
                    <a:gd name="T22" fmla="*/ 7 w 688"/>
                    <a:gd name="T23" fmla="*/ 1 h 394"/>
                    <a:gd name="T24" fmla="*/ 8 w 688"/>
                    <a:gd name="T25" fmla="*/ 1 h 394"/>
                    <a:gd name="T26" fmla="*/ 9 w 688"/>
                    <a:gd name="T27" fmla="*/ 3 h 394"/>
                    <a:gd name="T28" fmla="*/ 10 w 688"/>
                    <a:gd name="T29" fmla="*/ 3 h 394"/>
                    <a:gd name="T30" fmla="*/ 9 w 688"/>
                    <a:gd name="T31" fmla="*/ 0 h 394"/>
                    <a:gd name="T32" fmla="*/ 10 w 688"/>
                    <a:gd name="T33" fmla="*/ 0 h 394"/>
                    <a:gd name="T34" fmla="*/ 12 w 688"/>
                    <a:gd name="T35" fmla="*/ 1 h 394"/>
                    <a:gd name="T36" fmla="*/ 12 w 688"/>
                    <a:gd name="T37" fmla="*/ 4 h 394"/>
                    <a:gd name="T38" fmla="*/ 16 w 688"/>
                    <a:gd name="T39" fmla="*/ 6 h 394"/>
                    <a:gd name="T40" fmla="*/ 16 w 688"/>
                    <a:gd name="T41" fmla="*/ 7 h 394"/>
                    <a:gd name="T42" fmla="*/ 15 w 688"/>
                    <a:gd name="T43" fmla="*/ 7 h 394"/>
                    <a:gd name="T44" fmla="*/ 14 w 688"/>
                    <a:gd name="T45" fmla="*/ 7 h 394"/>
                    <a:gd name="T46" fmla="*/ 15 w 688"/>
                    <a:gd name="T47" fmla="*/ 8 h 394"/>
                    <a:gd name="T48" fmla="*/ 14 w 688"/>
                    <a:gd name="T49" fmla="*/ 9 h 394"/>
                    <a:gd name="T50" fmla="*/ 12 w 688"/>
                    <a:gd name="T51" fmla="*/ 8 h 394"/>
                    <a:gd name="T52" fmla="*/ 11 w 688"/>
                    <a:gd name="T53" fmla="*/ 7 h 394"/>
                    <a:gd name="T54" fmla="*/ 8 w 688"/>
                    <a:gd name="T55" fmla="*/ 9 h 394"/>
                    <a:gd name="T56" fmla="*/ 5 w 688"/>
                    <a:gd name="T57" fmla="*/ 9 h 394"/>
                    <a:gd name="T58" fmla="*/ 4 w 688"/>
                    <a:gd name="T59" fmla="*/ 8 h 394"/>
                    <a:gd name="T60" fmla="*/ 3 w 688"/>
                    <a:gd name="T61" fmla="*/ 8 h 394"/>
                    <a:gd name="T62" fmla="*/ 1 w 688"/>
                    <a:gd name="T63" fmla="*/ 6 h 394"/>
                    <a:gd name="T64" fmla="*/ 6 w 688"/>
                    <a:gd name="T65" fmla="*/ 6 h 394"/>
                    <a:gd name="T66" fmla="*/ 1 w 688"/>
                    <a:gd name="T67" fmla="*/ 5 h 394"/>
                    <a:gd name="T68" fmla="*/ 1 w 688"/>
                    <a:gd name="T69" fmla="*/ 5 h 394"/>
                    <a:gd name="T70" fmla="*/ 3 w 688"/>
                    <a:gd name="T71" fmla="*/ 4 h 394"/>
                    <a:gd name="T72" fmla="*/ 1 w 688"/>
                    <a:gd name="T73" fmla="*/ 4 h 394"/>
                    <a:gd name="T74" fmla="*/ 1 w 688"/>
                    <a:gd name="T75" fmla="*/ 3 h 394"/>
                    <a:gd name="T76" fmla="*/ 0 w 688"/>
                    <a:gd name="T77" fmla="*/ 3 h 394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w 688"/>
                    <a:gd name="T118" fmla="*/ 0 h 394"/>
                    <a:gd name="T119" fmla="*/ 688 w 688"/>
                    <a:gd name="T120" fmla="*/ 394 h 394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T117" t="T118" r="T119" b="T120"/>
                  <a:pathLst>
                    <a:path w="688" h="394">
                      <a:moveTo>
                        <a:pt x="0" y="128"/>
                      </a:moveTo>
                      <a:lnTo>
                        <a:pt x="37" y="96"/>
                      </a:lnTo>
                      <a:lnTo>
                        <a:pt x="17" y="80"/>
                      </a:lnTo>
                      <a:lnTo>
                        <a:pt x="101" y="23"/>
                      </a:lnTo>
                      <a:lnTo>
                        <a:pt x="168" y="0"/>
                      </a:lnTo>
                      <a:lnTo>
                        <a:pt x="189" y="40"/>
                      </a:lnTo>
                      <a:lnTo>
                        <a:pt x="166" y="65"/>
                      </a:lnTo>
                      <a:lnTo>
                        <a:pt x="226" y="32"/>
                      </a:lnTo>
                      <a:lnTo>
                        <a:pt x="296" y="59"/>
                      </a:lnTo>
                      <a:lnTo>
                        <a:pt x="268" y="88"/>
                      </a:lnTo>
                      <a:lnTo>
                        <a:pt x="349" y="69"/>
                      </a:lnTo>
                      <a:lnTo>
                        <a:pt x="326" y="35"/>
                      </a:lnTo>
                      <a:lnTo>
                        <a:pt x="356" y="39"/>
                      </a:lnTo>
                      <a:lnTo>
                        <a:pt x="416" y="146"/>
                      </a:lnTo>
                      <a:lnTo>
                        <a:pt x="439" y="120"/>
                      </a:lnTo>
                      <a:lnTo>
                        <a:pt x="414" y="4"/>
                      </a:lnTo>
                      <a:lnTo>
                        <a:pt x="466" y="5"/>
                      </a:lnTo>
                      <a:lnTo>
                        <a:pt x="521" y="47"/>
                      </a:lnTo>
                      <a:lnTo>
                        <a:pt x="552" y="191"/>
                      </a:lnTo>
                      <a:lnTo>
                        <a:pt x="688" y="261"/>
                      </a:lnTo>
                      <a:lnTo>
                        <a:pt x="686" y="299"/>
                      </a:lnTo>
                      <a:lnTo>
                        <a:pt x="651" y="283"/>
                      </a:lnTo>
                      <a:lnTo>
                        <a:pt x="609" y="308"/>
                      </a:lnTo>
                      <a:lnTo>
                        <a:pt x="665" y="341"/>
                      </a:lnTo>
                      <a:lnTo>
                        <a:pt x="612" y="371"/>
                      </a:lnTo>
                      <a:lnTo>
                        <a:pt x="525" y="354"/>
                      </a:lnTo>
                      <a:lnTo>
                        <a:pt x="476" y="315"/>
                      </a:lnTo>
                      <a:lnTo>
                        <a:pt x="359" y="380"/>
                      </a:lnTo>
                      <a:lnTo>
                        <a:pt x="218" y="394"/>
                      </a:lnTo>
                      <a:lnTo>
                        <a:pt x="189" y="333"/>
                      </a:lnTo>
                      <a:lnTo>
                        <a:pt x="111" y="329"/>
                      </a:lnTo>
                      <a:lnTo>
                        <a:pt x="60" y="274"/>
                      </a:lnTo>
                      <a:lnTo>
                        <a:pt x="263" y="242"/>
                      </a:lnTo>
                      <a:lnTo>
                        <a:pt x="53" y="226"/>
                      </a:lnTo>
                      <a:lnTo>
                        <a:pt x="28" y="192"/>
                      </a:lnTo>
                      <a:lnTo>
                        <a:pt x="134" y="157"/>
                      </a:lnTo>
                      <a:lnTo>
                        <a:pt x="37" y="164"/>
                      </a:lnTo>
                      <a:lnTo>
                        <a:pt x="42" y="146"/>
                      </a:lnTo>
                      <a:lnTo>
                        <a:pt x="0" y="12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" name="Freeform 261"/>
                <p:cNvSpPr/>
                <p:nvPr/>
              </p:nvSpPr>
              <p:spPr bwMode="auto">
                <a:xfrm>
                  <a:off x="5843000" y="1981028"/>
                  <a:ext cx="225753" cy="98653"/>
                </a:xfrm>
                <a:custGeom>
                  <a:avLst/>
                  <a:gdLst>
                    <a:gd name="T0" fmla="*/ 0 w 468"/>
                    <a:gd name="T1" fmla="*/ 3 h 217"/>
                    <a:gd name="T2" fmla="*/ 0 w 468"/>
                    <a:gd name="T3" fmla="*/ 3 h 217"/>
                    <a:gd name="T4" fmla="*/ 2 w 468"/>
                    <a:gd name="T5" fmla="*/ 3 h 217"/>
                    <a:gd name="T6" fmla="*/ 0 w 468"/>
                    <a:gd name="T7" fmla="*/ 3 h 217"/>
                    <a:gd name="T8" fmla="*/ 3 w 468"/>
                    <a:gd name="T9" fmla="*/ 2 h 217"/>
                    <a:gd name="T10" fmla="*/ 1 w 468"/>
                    <a:gd name="T11" fmla="*/ 2 h 217"/>
                    <a:gd name="T12" fmla="*/ 1 w 468"/>
                    <a:gd name="T13" fmla="*/ 1 h 217"/>
                    <a:gd name="T14" fmla="*/ 3 w 468"/>
                    <a:gd name="T15" fmla="*/ 1 h 217"/>
                    <a:gd name="T16" fmla="*/ 1 w 468"/>
                    <a:gd name="T17" fmla="*/ 1 h 217"/>
                    <a:gd name="T18" fmla="*/ 3 w 468"/>
                    <a:gd name="T19" fmla="*/ 1 h 217"/>
                    <a:gd name="T20" fmla="*/ 5 w 468"/>
                    <a:gd name="T21" fmla="*/ 1 h 217"/>
                    <a:gd name="T22" fmla="*/ 6 w 468"/>
                    <a:gd name="T23" fmla="*/ 3 h 217"/>
                    <a:gd name="T24" fmla="*/ 8 w 468"/>
                    <a:gd name="T25" fmla="*/ 3 h 217"/>
                    <a:gd name="T26" fmla="*/ 7 w 468"/>
                    <a:gd name="T27" fmla="*/ 2 h 217"/>
                    <a:gd name="T28" fmla="*/ 7 w 468"/>
                    <a:gd name="T29" fmla="*/ 1 h 217"/>
                    <a:gd name="T30" fmla="*/ 7 w 468"/>
                    <a:gd name="T31" fmla="*/ 1 h 217"/>
                    <a:gd name="T32" fmla="*/ 8 w 468"/>
                    <a:gd name="T33" fmla="*/ 0 h 217"/>
                    <a:gd name="T34" fmla="*/ 9 w 468"/>
                    <a:gd name="T35" fmla="*/ 1 h 217"/>
                    <a:gd name="T36" fmla="*/ 8 w 468"/>
                    <a:gd name="T37" fmla="*/ 2 h 217"/>
                    <a:gd name="T38" fmla="*/ 9 w 468"/>
                    <a:gd name="T39" fmla="*/ 2 h 217"/>
                    <a:gd name="T40" fmla="*/ 9 w 468"/>
                    <a:gd name="T41" fmla="*/ 2 h 217"/>
                    <a:gd name="T42" fmla="*/ 10 w 468"/>
                    <a:gd name="T43" fmla="*/ 3 h 217"/>
                    <a:gd name="T44" fmla="*/ 10 w 468"/>
                    <a:gd name="T45" fmla="*/ 2 h 217"/>
                    <a:gd name="T46" fmla="*/ 11 w 468"/>
                    <a:gd name="T47" fmla="*/ 3 h 217"/>
                    <a:gd name="T48" fmla="*/ 11 w 468"/>
                    <a:gd name="T49" fmla="*/ 4 h 217"/>
                    <a:gd name="T50" fmla="*/ 8 w 468"/>
                    <a:gd name="T51" fmla="*/ 4 h 217"/>
                    <a:gd name="T52" fmla="*/ 5 w 468"/>
                    <a:gd name="T53" fmla="*/ 5 h 217"/>
                    <a:gd name="T54" fmla="*/ 3 w 468"/>
                    <a:gd name="T55" fmla="*/ 4 h 217"/>
                    <a:gd name="T56" fmla="*/ 6 w 468"/>
                    <a:gd name="T57" fmla="*/ 3 h 217"/>
                    <a:gd name="T58" fmla="*/ 3 w 468"/>
                    <a:gd name="T59" fmla="*/ 4 h 217"/>
                    <a:gd name="T60" fmla="*/ 4 w 468"/>
                    <a:gd name="T61" fmla="*/ 3 h 217"/>
                    <a:gd name="T62" fmla="*/ 3 w 468"/>
                    <a:gd name="T63" fmla="*/ 4 h 217"/>
                    <a:gd name="T64" fmla="*/ 1 w 468"/>
                    <a:gd name="T65" fmla="*/ 4 h 217"/>
                    <a:gd name="T66" fmla="*/ 0 w 468"/>
                    <a:gd name="T67" fmla="*/ 3 h 217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468"/>
                    <a:gd name="T103" fmla="*/ 0 h 217"/>
                    <a:gd name="T104" fmla="*/ 468 w 468"/>
                    <a:gd name="T105" fmla="*/ 217 h 217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468" h="217">
                      <a:moveTo>
                        <a:pt x="0" y="143"/>
                      </a:moveTo>
                      <a:lnTo>
                        <a:pt x="18" y="125"/>
                      </a:lnTo>
                      <a:lnTo>
                        <a:pt x="100" y="105"/>
                      </a:lnTo>
                      <a:lnTo>
                        <a:pt x="18" y="109"/>
                      </a:lnTo>
                      <a:lnTo>
                        <a:pt x="113" y="88"/>
                      </a:lnTo>
                      <a:lnTo>
                        <a:pt x="36" y="88"/>
                      </a:lnTo>
                      <a:lnTo>
                        <a:pt x="44" y="64"/>
                      </a:lnTo>
                      <a:lnTo>
                        <a:pt x="115" y="63"/>
                      </a:lnTo>
                      <a:lnTo>
                        <a:pt x="64" y="57"/>
                      </a:lnTo>
                      <a:lnTo>
                        <a:pt x="106" y="36"/>
                      </a:lnTo>
                      <a:lnTo>
                        <a:pt x="200" y="63"/>
                      </a:lnTo>
                      <a:lnTo>
                        <a:pt x="247" y="117"/>
                      </a:lnTo>
                      <a:lnTo>
                        <a:pt x="334" y="120"/>
                      </a:lnTo>
                      <a:lnTo>
                        <a:pt x="300" y="88"/>
                      </a:lnTo>
                      <a:lnTo>
                        <a:pt x="317" y="65"/>
                      </a:lnTo>
                      <a:lnTo>
                        <a:pt x="280" y="40"/>
                      </a:lnTo>
                      <a:lnTo>
                        <a:pt x="342" y="0"/>
                      </a:lnTo>
                      <a:lnTo>
                        <a:pt x="366" y="48"/>
                      </a:lnTo>
                      <a:lnTo>
                        <a:pt x="349" y="69"/>
                      </a:lnTo>
                      <a:lnTo>
                        <a:pt x="384" y="76"/>
                      </a:lnTo>
                      <a:lnTo>
                        <a:pt x="369" y="99"/>
                      </a:lnTo>
                      <a:lnTo>
                        <a:pt x="414" y="107"/>
                      </a:lnTo>
                      <a:lnTo>
                        <a:pt x="439" y="75"/>
                      </a:lnTo>
                      <a:lnTo>
                        <a:pt x="468" y="111"/>
                      </a:lnTo>
                      <a:lnTo>
                        <a:pt x="446" y="161"/>
                      </a:lnTo>
                      <a:lnTo>
                        <a:pt x="344" y="157"/>
                      </a:lnTo>
                      <a:lnTo>
                        <a:pt x="191" y="217"/>
                      </a:lnTo>
                      <a:lnTo>
                        <a:pt x="129" y="187"/>
                      </a:lnTo>
                      <a:lnTo>
                        <a:pt x="259" y="137"/>
                      </a:lnTo>
                      <a:lnTo>
                        <a:pt x="146" y="167"/>
                      </a:lnTo>
                      <a:lnTo>
                        <a:pt x="165" y="128"/>
                      </a:lnTo>
                      <a:lnTo>
                        <a:pt x="108" y="170"/>
                      </a:lnTo>
                      <a:lnTo>
                        <a:pt x="44" y="157"/>
                      </a:lnTo>
                      <a:lnTo>
                        <a:pt x="0" y="14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" name="Freeform 262"/>
                <p:cNvSpPr/>
                <p:nvPr/>
              </p:nvSpPr>
              <p:spPr bwMode="auto">
                <a:xfrm>
                  <a:off x="6068753" y="1877602"/>
                  <a:ext cx="116246" cy="60465"/>
                </a:xfrm>
                <a:custGeom>
                  <a:avLst/>
                  <a:gdLst>
                    <a:gd name="T0" fmla="*/ 0 w 244"/>
                    <a:gd name="T1" fmla="*/ 0 h 134"/>
                    <a:gd name="T2" fmla="*/ 1 w 244"/>
                    <a:gd name="T3" fmla="*/ 1 h 134"/>
                    <a:gd name="T4" fmla="*/ 2 w 244"/>
                    <a:gd name="T5" fmla="*/ 1 h 134"/>
                    <a:gd name="T6" fmla="*/ 1 w 244"/>
                    <a:gd name="T7" fmla="*/ 1 h 134"/>
                    <a:gd name="T8" fmla="*/ 2 w 244"/>
                    <a:gd name="T9" fmla="*/ 2 h 134"/>
                    <a:gd name="T10" fmla="*/ 1 w 244"/>
                    <a:gd name="T11" fmla="*/ 2 h 134"/>
                    <a:gd name="T12" fmla="*/ 2 w 244"/>
                    <a:gd name="T13" fmla="*/ 2 h 134"/>
                    <a:gd name="T14" fmla="*/ 6 w 244"/>
                    <a:gd name="T15" fmla="*/ 3 h 134"/>
                    <a:gd name="T16" fmla="*/ 5 w 244"/>
                    <a:gd name="T17" fmla="*/ 1 h 134"/>
                    <a:gd name="T18" fmla="*/ 3 w 244"/>
                    <a:gd name="T19" fmla="*/ 0 h 134"/>
                    <a:gd name="T20" fmla="*/ 2 w 244"/>
                    <a:gd name="T21" fmla="*/ 1 h 134"/>
                    <a:gd name="T22" fmla="*/ 2 w 244"/>
                    <a:gd name="T23" fmla="*/ 0 h 134"/>
                    <a:gd name="T24" fmla="*/ 0 w 244"/>
                    <a:gd name="T25" fmla="*/ 0 h 134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44"/>
                    <a:gd name="T40" fmla="*/ 0 h 134"/>
                    <a:gd name="T41" fmla="*/ 244 w 244"/>
                    <a:gd name="T42" fmla="*/ 134 h 134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44" h="134">
                      <a:moveTo>
                        <a:pt x="0" y="0"/>
                      </a:moveTo>
                      <a:lnTo>
                        <a:pt x="22" y="48"/>
                      </a:lnTo>
                      <a:lnTo>
                        <a:pt x="79" y="48"/>
                      </a:lnTo>
                      <a:lnTo>
                        <a:pt x="59" y="60"/>
                      </a:lnTo>
                      <a:lnTo>
                        <a:pt x="75" y="76"/>
                      </a:lnTo>
                      <a:lnTo>
                        <a:pt x="23" y="83"/>
                      </a:lnTo>
                      <a:lnTo>
                        <a:pt x="107" y="100"/>
                      </a:lnTo>
                      <a:lnTo>
                        <a:pt x="244" y="134"/>
                      </a:lnTo>
                      <a:lnTo>
                        <a:pt x="221" y="58"/>
                      </a:lnTo>
                      <a:lnTo>
                        <a:pt x="123" y="11"/>
                      </a:lnTo>
                      <a:lnTo>
                        <a:pt x="93" y="31"/>
                      </a:lnTo>
                      <a:lnTo>
                        <a:pt x="85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" name="Freeform 263"/>
                <p:cNvSpPr/>
                <p:nvPr/>
              </p:nvSpPr>
              <p:spPr bwMode="auto">
                <a:xfrm>
                  <a:off x="6120979" y="1993758"/>
                  <a:ext cx="94345" cy="62056"/>
                </a:xfrm>
                <a:custGeom>
                  <a:avLst/>
                  <a:gdLst>
                    <a:gd name="T0" fmla="*/ 0 w 195"/>
                    <a:gd name="T1" fmla="*/ 2 h 137"/>
                    <a:gd name="T2" fmla="*/ 1 w 195"/>
                    <a:gd name="T3" fmla="*/ 1 h 137"/>
                    <a:gd name="T4" fmla="*/ 1 w 195"/>
                    <a:gd name="T5" fmla="*/ 1 h 137"/>
                    <a:gd name="T6" fmla="*/ 0 w 195"/>
                    <a:gd name="T7" fmla="*/ 1 h 137"/>
                    <a:gd name="T8" fmla="*/ 1 w 195"/>
                    <a:gd name="T9" fmla="*/ 0 h 137"/>
                    <a:gd name="T10" fmla="*/ 2 w 195"/>
                    <a:gd name="T11" fmla="*/ 1 h 137"/>
                    <a:gd name="T12" fmla="*/ 1 w 195"/>
                    <a:gd name="T13" fmla="*/ 0 h 137"/>
                    <a:gd name="T14" fmla="*/ 4 w 195"/>
                    <a:gd name="T15" fmla="*/ 0 h 137"/>
                    <a:gd name="T16" fmla="*/ 5 w 195"/>
                    <a:gd name="T17" fmla="*/ 2 h 137"/>
                    <a:gd name="T18" fmla="*/ 4 w 195"/>
                    <a:gd name="T19" fmla="*/ 2 h 137"/>
                    <a:gd name="T20" fmla="*/ 4 w 195"/>
                    <a:gd name="T21" fmla="*/ 3 h 137"/>
                    <a:gd name="T22" fmla="*/ 2 w 195"/>
                    <a:gd name="T23" fmla="*/ 3 h 137"/>
                    <a:gd name="T24" fmla="*/ 2 w 195"/>
                    <a:gd name="T25" fmla="*/ 3 h 137"/>
                    <a:gd name="T26" fmla="*/ 2 w 195"/>
                    <a:gd name="T27" fmla="*/ 2 h 137"/>
                    <a:gd name="T28" fmla="*/ 3 w 195"/>
                    <a:gd name="T29" fmla="*/ 2 h 137"/>
                    <a:gd name="T30" fmla="*/ 0 w 195"/>
                    <a:gd name="T31" fmla="*/ 2 h 13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95"/>
                    <a:gd name="T49" fmla="*/ 0 h 137"/>
                    <a:gd name="T50" fmla="*/ 195 w 195"/>
                    <a:gd name="T51" fmla="*/ 137 h 137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95" h="137">
                      <a:moveTo>
                        <a:pt x="0" y="90"/>
                      </a:moveTo>
                      <a:lnTo>
                        <a:pt x="23" y="58"/>
                      </a:lnTo>
                      <a:lnTo>
                        <a:pt x="58" y="64"/>
                      </a:lnTo>
                      <a:lnTo>
                        <a:pt x="11" y="30"/>
                      </a:lnTo>
                      <a:lnTo>
                        <a:pt x="24" y="10"/>
                      </a:lnTo>
                      <a:lnTo>
                        <a:pt x="99" y="54"/>
                      </a:lnTo>
                      <a:lnTo>
                        <a:pt x="57" y="7"/>
                      </a:lnTo>
                      <a:lnTo>
                        <a:pt x="175" y="0"/>
                      </a:lnTo>
                      <a:lnTo>
                        <a:pt x="195" y="100"/>
                      </a:lnTo>
                      <a:lnTo>
                        <a:pt x="171" y="83"/>
                      </a:lnTo>
                      <a:lnTo>
                        <a:pt x="170" y="137"/>
                      </a:lnTo>
                      <a:lnTo>
                        <a:pt x="76" y="131"/>
                      </a:lnTo>
                      <a:lnTo>
                        <a:pt x="92" y="117"/>
                      </a:lnTo>
                      <a:lnTo>
                        <a:pt x="69" y="98"/>
                      </a:lnTo>
                      <a:lnTo>
                        <a:pt x="138" y="69"/>
                      </a:lnTo>
                      <a:lnTo>
                        <a:pt x="0" y="9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" name="Freeform 264"/>
                <p:cNvSpPr/>
                <p:nvPr/>
              </p:nvSpPr>
              <p:spPr bwMode="auto">
                <a:xfrm>
                  <a:off x="6122664" y="2101958"/>
                  <a:ext cx="109507" cy="97062"/>
                </a:xfrm>
                <a:custGeom>
                  <a:avLst/>
                  <a:gdLst>
                    <a:gd name="T0" fmla="*/ 0 w 228"/>
                    <a:gd name="T1" fmla="*/ 3 h 214"/>
                    <a:gd name="T2" fmla="*/ 0 w 228"/>
                    <a:gd name="T3" fmla="*/ 2 h 214"/>
                    <a:gd name="T4" fmla="*/ 2 w 228"/>
                    <a:gd name="T5" fmla="*/ 2 h 214"/>
                    <a:gd name="T6" fmla="*/ 2 w 228"/>
                    <a:gd name="T7" fmla="*/ 1 h 214"/>
                    <a:gd name="T8" fmla="*/ 2 w 228"/>
                    <a:gd name="T9" fmla="*/ 1 h 214"/>
                    <a:gd name="T10" fmla="*/ 1 w 228"/>
                    <a:gd name="T11" fmla="*/ 1 h 214"/>
                    <a:gd name="T12" fmla="*/ 2 w 228"/>
                    <a:gd name="T13" fmla="*/ 1 h 214"/>
                    <a:gd name="T14" fmla="*/ 1 w 228"/>
                    <a:gd name="T15" fmla="*/ 0 h 214"/>
                    <a:gd name="T16" fmla="*/ 5 w 228"/>
                    <a:gd name="T17" fmla="*/ 0 h 214"/>
                    <a:gd name="T18" fmla="*/ 5 w 228"/>
                    <a:gd name="T19" fmla="*/ 1 h 214"/>
                    <a:gd name="T20" fmla="*/ 4 w 228"/>
                    <a:gd name="T21" fmla="*/ 2 h 214"/>
                    <a:gd name="T22" fmla="*/ 5 w 228"/>
                    <a:gd name="T23" fmla="*/ 2 h 214"/>
                    <a:gd name="T24" fmla="*/ 5 w 228"/>
                    <a:gd name="T25" fmla="*/ 4 h 214"/>
                    <a:gd name="T26" fmla="*/ 3 w 228"/>
                    <a:gd name="T27" fmla="*/ 5 h 214"/>
                    <a:gd name="T28" fmla="*/ 2 w 228"/>
                    <a:gd name="T29" fmla="*/ 4 h 214"/>
                    <a:gd name="T30" fmla="*/ 0 w 228"/>
                    <a:gd name="T31" fmla="*/ 3 h 21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28"/>
                    <a:gd name="T49" fmla="*/ 0 h 214"/>
                    <a:gd name="T50" fmla="*/ 228 w 228"/>
                    <a:gd name="T51" fmla="*/ 214 h 21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28" h="214">
                      <a:moveTo>
                        <a:pt x="0" y="107"/>
                      </a:moveTo>
                      <a:lnTo>
                        <a:pt x="14" y="80"/>
                      </a:lnTo>
                      <a:lnTo>
                        <a:pt x="87" y="95"/>
                      </a:lnTo>
                      <a:lnTo>
                        <a:pt x="77" y="62"/>
                      </a:lnTo>
                      <a:lnTo>
                        <a:pt x="95" y="64"/>
                      </a:lnTo>
                      <a:lnTo>
                        <a:pt x="45" y="45"/>
                      </a:lnTo>
                      <a:lnTo>
                        <a:pt x="72" y="35"/>
                      </a:lnTo>
                      <a:lnTo>
                        <a:pt x="47" y="18"/>
                      </a:lnTo>
                      <a:lnTo>
                        <a:pt x="196" y="0"/>
                      </a:lnTo>
                      <a:lnTo>
                        <a:pt x="200" y="46"/>
                      </a:lnTo>
                      <a:lnTo>
                        <a:pt x="155" y="84"/>
                      </a:lnTo>
                      <a:lnTo>
                        <a:pt x="219" y="95"/>
                      </a:lnTo>
                      <a:lnTo>
                        <a:pt x="228" y="173"/>
                      </a:lnTo>
                      <a:lnTo>
                        <a:pt x="132" y="214"/>
                      </a:lnTo>
                      <a:lnTo>
                        <a:pt x="87" y="154"/>
                      </a:lnTo>
                      <a:lnTo>
                        <a:pt x="0" y="10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" name="Freeform 265"/>
                <p:cNvSpPr/>
                <p:nvPr/>
              </p:nvSpPr>
              <p:spPr bwMode="auto">
                <a:xfrm>
                  <a:off x="6200161" y="1893513"/>
                  <a:ext cx="65704" cy="49327"/>
                </a:xfrm>
                <a:custGeom>
                  <a:avLst/>
                  <a:gdLst>
                    <a:gd name="T0" fmla="*/ 0 w 136"/>
                    <a:gd name="T1" fmla="*/ 0 h 109"/>
                    <a:gd name="T2" fmla="*/ 0 w 136"/>
                    <a:gd name="T3" fmla="*/ 1 h 109"/>
                    <a:gd name="T4" fmla="*/ 1 w 136"/>
                    <a:gd name="T5" fmla="*/ 2 h 109"/>
                    <a:gd name="T6" fmla="*/ 1 w 136"/>
                    <a:gd name="T7" fmla="*/ 2 h 109"/>
                    <a:gd name="T8" fmla="*/ 1 w 136"/>
                    <a:gd name="T9" fmla="*/ 3 h 109"/>
                    <a:gd name="T10" fmla="*/ 3 w 136"/>
                    <a:gd name="T11" fmla="*/ 2 h 109"/>
                    <a:gd name="T12" fmla="*/ 3 w 136"/>
                    <a:gd name="T13" fmla="*/ 1 h 109"/>
                    <a:gd name="T14" fmla="*/ 0 w 136"/>
                    <a:gd name="T15" fmla="*/ 0 h 10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6"/>
                    <a:gd name="T25" fmla="*/ 0 h 109"/>
                    <a:gd name="T26" fmla="*/ 136 w 136"/>
                    <a:gd name="T27" fmla="*/ 109 h 10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6" h="109">
                      <a:moveTo>
                        <a:pt x="0" y="0"/>
                      </a:moveTo>
                      <a:lnTo>
                        <a:pt x="18" y="65"/>
                      </a:lnTo>
                      <a:lnTo>
                        <a:pt x="59" y="71"/>
                      </a:lnTo>
                      <a:lnTo>
                        <a:pt x="23" y="79"/>
                      </a:lnTo>
                      <a:lnTo>
                        <a:pt x="42" y="109"/>
                      </a:lnTo>
                      <a:lnTo>
                        <a:pt x="127" y="91"/>
                      </a:lnTo>
                      <a:lnTo>
                        <a:pt x="136" y="5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" name="Freeform 266"/>
                <p:cNvSpPr/>
                <p:nvPr/>
              </p:nvSpPr>
              <p:spPr bwMode="auto">
                <a:xfrm>
                  <a:off x="6223747" y="1969890"/>
                  <a:ext cx="316728" cy="109791"/>
                </a:xfrm>
                <a:custGeom>
                  <a:avLst/>
                  <a:gdLst>
                    <a:gd name="T0" fmla="*/ 0 w 659"/>
                    <a:gd name="T1" fmla="*/ 1 h 241"/>
                    <a:gd name="T2" fmla="*/ 1 w 659"/>
                    <a:gd name="T3" fmla="*/ 0 h 241"/>
                    <a:gd name="T4" fmla="*/ 2 w 659"/>
                    <a:gd name="T5" fmla="*/ 0 h 241"/>
                    <a:gd name="T6" fmla="*/ 3 w 659"/>
                    <a:gd name="T7" fmla="*/ 1 h 241"/>
                    <a:gd name="T8" fmla="*/ 3 w 659"/>
                    <a:gd name="T9" fmla="*/ 1 h 241"/>
                    <a:gd name="T10" fmla="*/ 5 w 659"/>
                    <a:gd name="T11" fmla="*/ 1 h 241"/>
                    <a:gd name="T12" fmla="*/ 6 w 659"/>
                    <a:gd name="T13" fmla="*/ 1 h 241"/>
                    <a:gd name="T14" fmla="*/ 5 w 659"/>
                    <a:gd name="T15" fmla="*/ 1 h 241"/>
                    <a:gd name="T16" fmla="*/ 7 w 659"/>
                    <a:gd name="T17" fmla="*/ 2 h 241"/>
                    <a:gd name="T18" fmla="*/ 5 w 659"/>
                    <a:gd name="T19" fmla="*/ 2 h 241"/>
                    <a:gd name="T20" fmla="*/ 6 w 659"/>
                    <a:gd name="T21" fmla="*/ 3 h 241"/>
                    <a:gd name="T22" fmla="*/ 5 w 659"/>
                    <a:gd name="T23" fmla="*/ 3 h 241"/>
                    <a:gd name="T24" fmla="*/ 6 w 659"/>
                    <a:gd name="T25" fmla="*/ 3 h 241"/>
                    <a:gd name="T26" fmla="*/ 7 w 659"/>
                    <a:gd name="T27" fmla="*/ 4 h 241"/>
                    <a:gd name="T28" fmla="*/ 7 w 659"/>
                    <a:gd name="T29" fmla="*/ 3 h 241"/>
                    <a:gd name="T30" fmla="*/ 10 w 659"/>
                    <a:gd name="T31" fmla="*/ 4 h 241"/>
                    <a:gd name="T32" fmla="*/ 13 w 659"/>
                    <a:gd name="T33" fmla="*/ 3 h 241"/>
                    <a:gd name="T34" fmla="*/ 15 w 659"/>
                    <a:gd name="T35" fmla="*/ 4 h 241"/>
                    <a:gd name="T36" fmla="*/ 15 w 659"/>
                    <a:gd name="T37" fmla="*/ 5 h 241"/>
                    <a:gd name="T38" fmla="*/ 15 w 659"/>
                    <a:gd name="T39" fmla="*/ 5 h 241"/>
                    <a:gd name="T40" fmla="*/ 13 w 659"/>
                    <a:gd name="T41" fmla="*/ 6 h 241"/>
                    <a:gd name="T42" fmla="*/ 12 w 659"/>
                    <a:gd name="T43" fmla="*/ 5 h 241"/>
                    <a:gd name="T44" fmla="*/ 12 w 659"/>
                    <a:gd name="T45" fmla="*/ 5 h 241"/>
                    <a:gd name="T46" fmla="*/ 11 w 659"/>
                    <a:gd name="T47" fmla="*/ 5 h 241"/>
                    <a:gd name="T48" fmla="*/ 8 w 659"/>
                    <a:gd name="T49" fmla="*/ 6 h 241"/>
                    <a:gd name="T50" fmla="*/ 7 w 659"/>
                    <a:gd name="T51" fmla="*/ 5 h 241"/>
                    <a:gd name="T52" fmla="*/ 6 w 659"/>
                    <a:gd name="T53" fmla="*/ 5 h 241"/>
                    <a:gd name="T54" fmla="*/ 5 w 659"/>
                    <a:gd name="T55" fmla="*/ 5 h 241"/>
                    <a:gd name="T56" fmla="*/ 5 w 659"/>
                    <a:gd name="T57" fmla="*/ 5 h 241"/>
                    <a:gd name="T58" fmla="*/ 3 w 659"/>
                    <a:gd name="T59" fmla="*/ 2 h 241"/>
                    <a:gd name="T60" fmla="*/ 2 w 659"/>
                    <a:gd name="T61" fmla="*/ 2 h 241"/>
                    <a:gd name="T62" fmla="*/ 0 w 659"/>
                    <a:gd name="T63" fmla="*/ 1 h 24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659"/>
                    <a:gd name="T97" fmla="*/ 0 h 241"/>
                    <a:gd name="T98" fmla="*/ 659 w 659"/>
                    <a:gd name="T99" fmla="*/ 241 h 24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659" h="241">
                      <a:moveTo>
                        <a:pt x="0" y="38"/>
                      </a:moveTo>
                      <a:lnTo>
                        <a:pt x="41" y="0"/>
                      </a:lnTo>
                      <a:lnTo>
                        <a:pt x="97" y="19"/>
                      </a:lnTo>
                      <a:lnTo>
                        <a:pt x="137" y="38"/>
                      </a:lnTo>
                      <a:lnTo>
                        <a:pt x="126" y="65"/>
                      </a:lnTo>
                      <a:lnTo>
                        <a:pt x="200" y="42"/>
                      </a:lnTo>
                      <a:lnTo>
                        <a:pt x="250" y="65"/>
                      </a:lnTo>
                      <a:lnTo>
                        <a:pt x="209" y="65"/>
                      </a:lnTo>
                      <a:lnTo>
                        <a:pt x="293" y="84"/>
                      </a:lnTo>
                      <a:lnTo>
                        <a:pt x="200" y="92"/>
                      </a:lnTo>
                      <a:lnTo>
                        <a:pt x="250" y="108"/>
                      </a:lnTo>
                      <a:lnTo>
                        <a:pt x="214" y="126"/>
                      </a:lnTo>
                      <a:lnTo>
                        <a:pt x="260" y="112"/>
                      </a:lnTo>
                      <a:lnTo>
                        <a:pt x="301" y="158"/>
                      </a:lnTo>
                      <a:lnTo>
                        <a:pt x="310" y="135"/>
                      </a:lnTo>
                      <a:lnTo>
                        <a:pt x="430" y="158"/>
                      </a:lnTo>
                      <a:lnTo>
                        <a:pt x="555" y="114"/>
                      </a:lnTo>
                      <a:lnTo>
                        <a:pt x="659" y="167"/>
                      </a:lnTo>
                      <a:lnTo>
                        <a:pt x="626" y="191"/>
                      </a:lnTo>
                      <a:lnTo>
                        <a:pt x="635" y="231"/>
                      </a:lnTo>
                      <a:lnTo>
                        <a:pt x="576" y="241"/>
                      </a:lnTo>
                      <a:lnTo>
                        <a:pt x="509" y="203"/>
                      </a:lnTo>
                      <a:lnTo>
                        <a:pt x="509" y="231"/>
                      </a:lnTo>
                      <a:lnTo>
                        <a:pt x="473" y="238"/>
                      </a:lnTo>
                      <a:lnTo>
                        <a:pt x="325" y="241"/>
                      </a:lnTo>
                      <a:lnTo>
                        <a:pt x="310" y="207"/>
                      </a:lnTo>
                      <a:lnTo>
                        <a:pt x="274" y="238"/>
                      </a:lnTo>
                      <a:lnTo>
                        <a:pt x="227" y="207"/>
                      </a:lnTo>
                      <a:lnTo>
                        <a:pt x="197" y="229"/>
                      </a:lnTo>
                      <a:lnTo>
                        <a:pt x="141" y="72"/>
                      </a:lnTo>
                      <a:lnTo>
                        <a:pt x="75" y="87"/>
                      </a:lnTo>
                      <a:lnTo>
                        <a:pt x="0" y="3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" name="Freeform 267"/>
                <p:cNvSpPr/>
                <p:nvPr/>
              </p:nvSpPr>
              <p:spPr bwMode="auto">
                <a:xfrm>
                  <a:off x="6237225" y="1782131"/>
                  <a:ext cx="203852" cy="146388"/>
                </a:xfrm>
                <a:custGeom>
                  <a:avLst/>
                  <a:gdLst>
                    <a:gd name="T0" fmla="*/ 0 w 428"/>
                    <a:gd name="T1" fmla="*/ 2 h 323"/>
                    <a:gd name="T2" fmla="*/ 2 w 428"/>
                    <a:gd name="T3" fmla="*/ 2 h 323"/>
                    <a:gd name="T4" fmla="*/ 1 w 428"/>
                    <a:gd name="T5" fmla="*/ 1 h 323"/>
                    <a:gd name="T6" fmla="*/ 3 w 428"/>
                    <a:gd name="T7" fmla="*/ 1 h 323"/>
                    <a:gd name="T8" fmla="*/ 1 w 428"/>
                    <a:gd name="T9" fmla="*/ 0 h 323"/>
                    <a:gd name="T10" fmla="*/ 4 w 428"/>
                    <a:gd name="T11" fmla="*/ 1 h 323"/>
                    <a:gd name="T12" fmla="*/ 5 w 428"/>
                    <a:gd name="T13" fmla="*/ 2 h 323"/>
                    <a:gd name="T14" fmla="*/ 6 w 428"/>
                    <a:gd name="T15" fmla="*/ 2 h 323"/>
                    <a:gd name="T16" fmla="*/ 7 w 428"/>
                    <a:gd name="T17" fmla="*/ 3 h 323"/>
                    <a:gd name="T18" fmla="*/ 7 w 428"/>
                    <a:gd name="T19" fmla="*/ 2 h 323"/>
                    <a:gd name="T20" fmla="*/ 8 w 428"/>
                    <a:gd name="T21" fmla="*/ 2 h 323"/>
                    <a:gd name="T22" fmla="*/ 7 w 428"/>
                    <a:gd name="T23" fmla="*/ 3 h 323"/>
                    <a:gd name="T24" fmla="*/ 8 w 428"/>
                    <a:gd name="T25" fmla="*/ 3 h 323"/>
                    <a:gd name="T26" fmla="*/ 8 w 428"/>
                    <a:gd name="T27" fmla="*/ 4 h 323"/>
                    <a:gd name="T28" fmla="*/ 9 w 428"/>
                    <a:gd name="T29" fmla="*/ 4 h 323"/>
                    <a:gd name="T30" fmla="*/ 10 w 428"/>
                    <a:gd name="T31" fmla="*/ 5 h 323"/>
                    <a:gd name="T32" fmla="*/ 8 w 428"/>
                    <a:gd name="T33" fmla="*/ 5 h 323"/>
                    <a:gd name="T34" fmla="*/ 7 w 428"/>
                    <a:gd name="T35" fmla="*/ 6 h 323"/>
                    <a:gd name="T36" fmla="*/ 7 w 428"/>
                    <a:gd name="T37" fmla="*/ 5 h 323"/>
                    <a:gd name="T38" fmla="*/ 7 w 428"/>
                    <a:gd name="T39" fmla="*/ 7 h 323"/>
                    <a:gd name="T40" fmla="*/ 5 w 428"/>
                    <a:gd name="T41" fmla="*/ 6 h 323"/>
                    <a:gd name="T42" fmla="*/ 6 w 428"/>
                    <a:gd name="T43" fmla="*/ 7 h 323"/>
                    <a:gd name="T44" fmla="*/ 4 w 428"/>
                    <a:gd name="T45" fmla="*/ 7 h 323"/>
                    <a:gd name="T46" fmla="*/ 3 w 428"/>
                    <a:gd name="T47" fmla="*/ 7 h 323"/>
                    <a:gd name="T48" fmla="*/ 4 w 428"/>
                    <a:gd name="T49" fmla="*/ 7 h 323"/>
                    <a:gd name="T50" fmla="*/ 3 w 428"/>
                    <a:gd name="T51" fmla="*/ 7 h 323"/>
                    <a:gd name="T52" fmla="*/ 3 w 428"/>
                    <a:gd name="T53" fmla="*/ 6 h 323"/>
                    <a:gd name="T54" fmla="*/ 3 w 428"/>
                    <a:gd name="T55" fmla="*/ 6 h 323"/>
                    <a:gd name="T56" fmla="*/ 2 w 428"/>
                    <a:gd name="T57" fmla="*/ 5 h 323"/>
                    <a:gd name="T58" fmla="*/ 5 w 428"/>
                    <a:gd name="T59" fmla="*/ 5 h 323"/>
                    <a:gd name="T60" fmla="*/ 1 w 428"/>
                    <a:gd name="T61" fmla="*/ 5 h 323"/>
                    <a:gd name="T62" fmla="*/ 1 w 428"/>
                    <a:gd name="T63" fmla="*/ 4 h 323"/>
                    <a:gd name="T64" fmla="*/ 2 w 428"/>
                    <a:gd name="T65" fmla="*/ 4 h 323"/>
                    <a:gd name="T66" fmla="*/ 0 w 428"/>
                    <a:gd name="T67" fmla="*/ 3 h 323"/>
                    <a:gd name="T68" fmla="*/ 1 w 428"/>
                    <a:gd name="T69" fmla="*/ 3 h 323"/>
                    <a:gd name="T70" fmla="*/ 0 w 428"/>
                    <a:gd name="T71" fmla="*/ 3 h 323"/>
                    <a:gd name="T72" fmla="*/ 2 w 428"/>
                    <a:gd name="T73" fmla="*/ 3 h 323"/>
                    <a:gd name="T74" fmla="*/ 0 w 428"/>
                    <a:gd name="T75" fmla="*/ 2 h 323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428"/>
                    <a:gd name="T115" fmla="*/ 0 h 323"/>
                    <a:gd name="T116" fmla="*/ 428 w 428"/>
                    <a:gd name="T117" fmla="*/ 323 h 323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428" h="323">
                      <a:moveTo>
                        <a:pt x="0" y="103"/>
                      </a:moveTo>
                      <a:lnTo>
                        <a:pt x="103" y="84"/>
                      </a:lnTo>
                      <a:lnTo>
                        <a:pt x="52" y="39"/>
                      </a:lnTo>
                      <a:lnTo>
                        <a:pt x="140" y="20"/>
                      </a:lnTo>
                      <a:lnTo>
                        <a:pt x="67" y="0"/>
                      </a:lnTo>
                      <a:lnTo>
                        <a:pt x="184" y="25"/>
                      </a:lnTo>
                      <a:lnTo>
                        <a:pt x="217" y="85"/>
                      </a:lnTo>
                      <a:lnTo>
                        <a:pt x="277" y="87"/>
                      </a:lnTo>
                      <a:lnTo>
                        <a:pt x="299" y="130"/>
                      </a:lnTo>
                      <a:lnTo>
                        <a:pt x="305" y="100"/>
                      </a:lnTo>
                      <a:lnTo>
                        <a:pt x="332" y="103"/>
                      </a:lnTo>
                      <a:lnTo>
                        <a:pt x="320" y="130"/>
                      </a:lnTo>
                      <a:lnTo>
                        <a:pt x="354" y="150"/>
                      </a:lnTo>
                      <a:lnTo>
                        <a:pt x="332" y="177"/>
                      </a:lnTo>
                      <a:lnTo>
                        <a:pt x="401" y="175"/>
                      </a:lnTo>
                      <a:lnTo>
                        <a:pt x="428" y="217"/>
                      </a:lnTo>
                      <a:lnTo>
                        <a:pt x="350" y="230"/>
                      </a:lnTo>
                      <a:lnTo>
                        <a:pt x="327" y="271"/>
                      </a:lnTo>
                      <a:lnTo>
                        <a:pt x="310" y="229"/>
                      </a:lnTo>
                      <a:lnTo>
                        <a:pt x="290" y="322"/>
                      </a:lnTo>
                      <a:lnTo>
                        <a:pt x="237" y="273"/>
                      </a:lnTo>
                      <a:lnTo>
                        <a:pt x="265" y="323"/>
                      </a:lnTo>
                      <a:lnTo>
                        <a:pt x="162" y="317"/>
                      </a:lnTo>
                      <a:lnTo>
                        <a:pt x="133" y="290"/>
                      </a:lnTo>
                      <a:lnTo>
                        <a:pt x="180" y="287"/>
                      </a:lnTo>
                      <a:lnTo>
                        <a:pt x="129" y="277"/>
                      </a:lnTo>
                      <a:lnTo>
                        <a:pt x="113" y="263"/>
                      </a:lnTo>
                      <a:lnTo>
                        <a:pt x="140" y="261"/>
                      </a:lnTo>
                      <a:lnTo>
                        <a:pt x="100" y="240"/>
                      </a:lnTo>
                      <a:lnTo>
                        <a:pt x="235" y="211"/>
                      </a:lnTo>
                      <a:lnTo>
                        <a:pt x="67" y="217"/>
                      </a:lnTo>
                      <a:lnTo>
                        <a:pt x="39" y="184"/>
                      </a:lnTo>
                      <a:lnTo>
                        <a:pt x="100" y="171"/>
                      </a:lnTo>
                      <a:lnTo>
                        <a:pt x="7" y="150"/>
                      </a:lnTo>
                      <a:lnTo>
                        <a:pt x="27" y="148"/>
                      </a:lnTo>
                      <a:lnTo>
                        <a:pt x="3" y="127"/>
                      </a:lnTo>
                      <a:lnTo>
                        <a:pt x="103" y="127"/>
                      </a:lnTo>
                      <a:lnTo>
                        <a:pt x="0" y="10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6" name="Freeform 268"/>
                <p:cNvSpPr/>
                <p:nvPr/>
              </p:nvSpPr>
              <p:spPr bwMode="auto">
                <a:xfrm>
                  <a:off x="6237225" y="2033537"/>
                  <a:ext cx="48857" cy="38188"/>
                </a:xfrm>
                <a:custGeom>
                  <a:avLst/>
                  <a:gdLst>
                    <a:gd name="T0" fmla="*/ 0 w 103"/>
                    <a:gd name="T1" fmla="*/ 1 h 82"/>
                    <a:gd name="T2" fmla="*/ 0 w 103"/>
                    <a:gd name="T3" fmla="*/ 0 h 82"/>
                    <a:gd name="T4" fmla="*/ 2 w 103"/>
                    <a:gd name="T5" fmla="*/ 0 h 82"/>
                    <a:gd name="T6" fmla="*/ 2 w 103"/>
                    <a:gd name="T7" fmla="*/ 2 h 82"/>
                    <a:gd name="T8" fmla="*/ 0 w 103"/>
                    <a:gd name="T9" fmla="*/ 1 h 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03"/>
                    <a:gd name="T16" fmla="*/ 0 h 82"/>
                    <a:gd name="T17" fmla="*/ 103 w 103"/>
                    <a:gd name="T18" fmla="*/ 82 h 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03" h="82">
                      <a:moveTo>
                        <a:pt x="0" y="55"/>
                      </a:moveTo>
                      <a:lnTo>
                        <a:pt x="18" y="0"/>
                      </a:lnTo>
                      <a:lnTo>
                        <a:pt x="86" y="16"/>
                      </a:lnTo>
                      <a:lnTo>
                        <a:pt x="103" y="82"/>
                      </a:lnTo>
                      <a:lnTo>
                        <a:pt x="0" y="5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7" name="Freeform 269"/>
                <p:cNvSpPr/>
                <p:nvPr/>
              </p:nvSpPr>
              <p:spPr bwMode="auto">
                <a:xfrm>
                  <a:off x="6238910" y="1942840"/>
                  <a:ext cx="53911" cy="12729"/>
                </a:xfrm>
                <a:custGeom>
                  <a:avLst/>
                  <a:gdLst>
                    <a:gd name="T0" fmla="*/ 0 w 116"/>
                    <a:gd name="T1" fmla="*/ 0 h 29"/>
                    <a:gd name="T2" fmla="*/ 1 w 116"/>
                    <a:gd name="T3" fmla="*/ 1 h 29"/>
                    <a:gd name="T4" fmla="*/ 2 w 116"/>
                    <a:gd name="T5" fmla="*/ 0 h 29"/>
                    <a:gd name="T6" fmla="*/ 1 w 116"/>
                    <a:gd name="T7" fmla="*/ 0 h 29"/>
                    <a:gd name="T8" fmla="*/ 0 w 116"/>
                    <a:gd name="T9" fmla="*/ 0 h 2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6"/>
                    <a:gd name="T16" fmla="*/ 0 h 29"/>
                    <a:gd name="T17" fmla="*/ 116 w 116"/>
                    <a:gd name="T18" fmla="*/ 29 h 2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6" h="29">
                      <a:moveTo>
                        <a:pt x="0" y="12"/>
                      </a:moveTo>
                      <a:lnTo>
                        <a:pt x="26" y="29"/>
                      </a:lnTo>
                      <a:lnTo>
                        <a:pt x="116" y="12"/>
                      </a:lnTo>
                      <a:lnTo>
                        <a:pt x="31" y="0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8" name="Freeform 270"/>
                <p:cNvSpPr/>
                <p:nvPr/>
              </p:nvSpPr>
              <p:spPr bwMode="auto">
                <a:xfrm>
                  <a:off x="6249018" y="2095593"/>
                  <a:ext cx="97714" cy="79559"/>
                </a:xfrm>
                <a:custGeom>
                  <a:avLst/>
                  <a:gdLst>
                    <a:gd name="T0" fmla="*/ 0 w 204"/>
                    <a:gd name="T1" fmla="*/ 1 h 172"/>
                    <a:gd name="T2" fmla="*/ 0 w 204"/>
                    <a:gd name="T3" fmla="*/ 3 h 172"/>
                    <a:gd name="T4" fmla="*/ 1 w 204"/>
                    <a:gd name="T5" fmla="*/ 3 h 172"/>
                    <a:gd name="T6" fmla="*/ 1 w 204"/>
                    <a:gd name="T7" fmla="*/ 4 h 172"/>
                    <a:gd name="T8" fmla="*/ 1 w 204"/>
                    <a:gd name="T9" fmla="*/ 4 h 172"/>
                    <a:gd name="T10" fmla="*/ 2 w 204"/>
                    <a:gd name="T11" fmla="*/ 3 h 172"/>
                    <a:gd name="T12" fmla="*/ 1 w 204"/>
                    <a:gd name="T13" fmla="*/ 3 h 172"/>
                    <a:gd name="T14" fmla="*/ 3 w 204"/>
                    <a:gd name="T15" fmla="*/ 3 h 172"/>
                    <a:gd name="T16" fmla="*/ 5 w 204"/>
                    <a:gd name="T17" fmla="*/ 0 h 172"/>
                    <a:gd name="T18" fmla="*/ 0 w 204"/>
                    <a:gd name="T19" fmla="*/ 0 h 172"/>
                    <a:gd name="T20" fmla="*/ 1 w 204"/>
                    <a:gd name="T21" fmla="*/ 1 h 172"/>
                    <a:gd name="T22" fmla="*/ 0 w 204"/>
                    <a:gd name="T23" fmla="*/ 1 h 17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04"/>
                    <a:gd name="T37" fmla="*/ 0 h 172"/>
                    <a:gd name="T38" fmla="*/ 204 w 204"/>
                    <a:gd name="T39" fmla="*/ 172 h 172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04" h="172">
                      <a:moveTo>
                        <a:pt x="0" y="30"/>
                      </a:moveTo>
                      <a:lnTo>
                        <a:pt x="3" y="107"/>
                      </a:lnTo>
                      <a:lnTo>
                        <a:pt x="28" y="123"/>
                      </a:lnTo>
                      <a:lnTo>
                        <a:pt x="21" y="168"/>
                      </a:lnTo>
                      <a:lnTo>
                        <a:pt x="48" y="172"/>
                      </a:lnTo>
                      <a:lnTo>
                        <a:pt x="81" y="134"/>
                      </a:lnTo>
                      <a:lnTo>
                        <a:pt x="48" y="107"/>
                      </a:lnTo>
                      <a:lnTo>
                        <a:pt x="131" y="107"/>
                      </a:lnTo>
                      <a:lnTo>
                        <a:pt x="204" y="12"/>
                      </a:lnTo>
                      <a:lnTo>
                        <a:pt x="15" y="0"/>
                      </a:lnTo>
                      <a:lnTo>
                        <a:pt x="38" y="31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" name="Freeform 271"/>
                <p:cNvSpPr/>
                <p:nvPr/>
              </p:nvSpPr>
              <p:spPr bwMode="auto">
                <a:xfrm>
                  <a:off x="6314722" y="1696207"/>
                  <a:ext cx="562698" cy="315053"/>
                </a:xfrm>
                <a:custGeom>
                  <a:avLst/>
                  <a:gdLst>
                    <a:gd name="T0" fmla="*/ 1 w 1173"/>
                    <a:gd name="T1" fmla="*/ 4 h 695"/>
                    <a:gd name="T2" fmla="*/ 3 w 1173"/>
                    <a:gd name="T3" fmla="*/ 5 h 695"/>
                    <a:gd name="T4" fmla="*/ 7 w 1173"/>
                    <a:gd name="T5" fmla="*/ 5 h 695"/>
                    <a:gd name="T6" fmla="*/ 6 w 1173"/>
                    <a:gd name="T7" fmla="*/ 5 h 695"/>
                    <a:gd name="T8" fmla="*/ 5 w 1173"/>
                    <a:gd name="T9" fmla="*/ 6 h 695"/>
                    <a:gd name="T10" fmla="*/ 7 w 1173"/>
                    <a:gd name="T11" fmla="*/ 6 h 695"/>
                    <a:gd name="T12" fmla="*/ 11 w 1173"/>
                    <a:gd name="T13" fmla="*/ 5 h 695"/>
                    <a:gd name="T14" fmla="*/ 15 w 1173"/>
                    <a:gd name="T15" fmla="*/ 5 h 695"/>
                    <a:gd name="T16" fmla="*/ 11 w 1173"/>
                    <a:gd name="T17" fmla="*/ 8 h 695"/>
                    <a:gd name="T18" fmla="*/ 5 w 1173"/>
                    <a:gd name="T19" fmla="*/ 7 h 695"/>
                    <a:gd name="T20" fmla="*/ 5 w 1173"/>
                    <a:gd name="T21" fmla="*/ 8 h 695"/>
                    <a:gd name="T22" fmla="*/ 9 w 1173"/>
                    <a:gd name="T23" fmla="*/ 10 h 695"/>
                    <a:gd name="T24" fmla="*/ 6 w 1173"/>
                    <a:gd name="T25" fmla="*/ 10 h 695"/>
                    <a:gd name="T26" fmla="*/ 5 w 1173"/>
                    <a:gd name="T27" fmla="*/ 11 h 695"/>
                    <a:gd name="T28" fmla="*/ 7 w 1173"/>
                    <a:gd name="T29" fmla="*/ 11 h 695"/>
                    <a:gd name="T30" fmla="*/ 5 w 1173"/>
                    <a:gd name="T31" fmla="*/ 12 h 695"/>
                    <a:gd name="T32" fmla="*/ 6 w 1173"/>
                    <a:gd name="T33" fmla="*/ 13 h 695"/>
                    <a:gd name="T34" fmla="*/ 7 w 1173"/>
                    <a:gd name="T35" fmla="*/ 14 h 695"/>
                    <a:gd name="T36" fmla="*/ 5 w 1173"/>
                    <a:gd name="T37" fmla="*/ 14 h 695"/>
                    <a:gd name="T38" fmla="*/ 3 w 1173"/>
                    <a:gd name="T39" fmla="*/ 15 h 695"/>
                    <a:gd name="T40" fmla="*/ 6 w 1173"/>
                    <a:gd name="T41" fmla="*/ 16 h 695"/>
                    <a:gd name="T42" fmla="*/ 7 w 1173"/>
                    <a:gd name="T43" fmla="*/ 15 h 695"/>
                    <a:gd name="T44" fmla="*/ 9 w 1173"/>
                    <a:gd name="T45" fmla="*/ 15 h 695"/>
                    <a:gd name="T46" fmla="*/ 10 w 1173"/>
                    <a:gd name="T47" fmla="*/ 16 h 695"/>
                    <a:gd name="T48" fmla="*/ 11 w 1173"/>
                    <a:gd name="T49" fmla="*/ 15 h 695"/>
                    <a:gd name="T50" fmla="*/ 12 w 1173"/>
                    <a:gd name="T51" fmla="*/ 14 h 695"/>
                    <a:gd name="T52" fmla="*/ 14 w 1173"/>
                    <a:gd name="T53" fmla="*/ 12 h 695"/>
                    <a:gd name="T54" fmla="*/ 15 w 1173"/>
                    <a:gd name="T55" fmla="*/ 11 h 695"/>
                    <a:gd name="T56" fmla="*/ 15 w 1173"/>
                    <a:gd name="T57" fmla="*/ 10 h 695"/>
                    <a:gd name="T58" fmla="*/ 13 w 1173"/>
                    <a:gd name="T59" fmla="*/ 10 h 695"/>
                    <a:gd name="T60" fmla="*/ 13 w 1173"/>
                    <a:gd name="T61" fmla="*/ 9 h 695"/>
                    <a:gd name="T62" fmla="*/ 18 w 1173"/>
                    <a:gd name="T63" fmla="*/ 8 h 695"/>
                    <a:gd name="T64" fmla="*/ 19 w 1173"/>
                    <a:gd name="T65" fmla="*/ 7 h 695"/>
                    <a:gd name="T66" fmla="*/ 24 w 1173"/>
                    <a:gd name="T67" fmla="*/ 4 h 695"/>
                    <a:gd name="T68" fmla="*/ 20 w 1173"/>
                    <a:gd name="T69" fmla="*/ 4 h 695"/>
                    <a:gd name="T70" fmla="*/ 27 w 1173"/>
                    <a:gd name="T71" fmla="*/ 3 h 695"/>
                    <a:gd name="T72" fmla="*/ 25 w 1173"/>
                    <a:gd name="T73" fmla="*/ 1 h 695"/>
                    <a:gd name="T74" fmla="*/ 16 w 1173"/>
                    <a:gd name="T75" fmla="*/ 0 h 695"/>
                    <a:gd name="T76" fmla="*/ 15 w 1173"/>
                    <a:gd name="T77" fmla="*/ 0 h 695"/>
                    <a:gd name="T78" fmla="*/ 13 w 1173"/>
                    <a:gd name="T79" fmla="*/ 2 h 695"/>
                    <a:gd name="T80" fmla="*/ 10 w 1173"/>
                    <a:gd name="T81" fmla="*/ 1 h 695"/>
                    <a:gd name="T82" fmla="*/ 8 w 1173"/>
                    <a:gd name="T83" fmla="*/ 1 h 695"/>
                    <a:gd name="T84" fmla="*/ 9 w 1173"/>
                    <a:gd name="T85" fmla="*/ 3 h 695"/>
                    <a:gd name="T86" fmla="*/ 6 w 1173"/>
                    <a:gd name="T87" fmla="*/ 3 h 695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1173"/>
                    <a:gd name="T133" fmla="*/ 0 h 695"/>
                    <a:gd name="T134" fmla="*/ 1173 w 1173"/>
                    <a:gd name="T135" fmla="*/ 695 h 695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1173" h="695">
                      <a:moveTo>
                        <a:pt x="0" y="165"/>
                      </a:moveTo>
                      <a:lnTo>
                        <a:pt x="104" y="165"/>
                      </a:lnTo>
                      <a:lnTo>
                        <a:pt x="67" y="189"/>
                      </a:lnTo>
                      <a:lnTo>
                        <a:pt x="211" y="170"/>
                      </a:lnTo>
                      <a:lnTo>
                        <a:pt x="87" y="189"/>
                      </a:lnTo>
                      <a:lnTo>
                        <a:pt x="126" y="201"/>
                      </a:lnTo>
                      <a:lnTo>
                        <a:pt x="84" y="204"/>
                      </a:lnTo>
                      <a:lnTo>
                        <a:pt x="102" y="223"/>
                      </a:lnTo>
                      <a:lnTo>
                        <a:pt x="287" y="195"/>
                      </a:lnTo>
                      <a:lnTo>
                        <a:pt x="104" y="238"/>
                      </a:lnTo>
                      <a:lnTo>
                        <a:pt x="183" y="272"/>
                      </a:lnTo>
                      <a:lnTo>
                        <a:pt x="255" y="222"/>
                      </a:lnTo>
                      <a:lnTo>
                        <a:pt x="379" y="214"/>
                      </a:lnTo>
                      <a:lnTo>
                        <a:pt x="249" y="232"/>
                      </a:lnTo>
                      <a:lnTo>
                        <a:pt x="219" y="272"/>
                      </a:lnTo>
                      <a:lnTo>
                        <a:pt x="294" y="276"/>
                      </a:lnTo>
                      <a:lnTo>
                        <a:pt x="379" y="237"/>
                      </a:lnTo>
                      <a:lnTo>
                        <a:pt x="322" y="273"/>
                      </a:lnTo>
                      <a:lnTo>
                        <a:pt x="379" y="273"/>
                      </a:lnTo>
                      <a:lnTo>
                        <a:pt x="467" y="246"/>
                      </a:lnTo>
                      <a:lnTo>
                        <a:pt x="456" y="205"/>
                      </a:lnTo>
                      <a:lnTo>
                        <a:pt x="551" y="176"/>
                      </a:lnTo>
                      <a:lnTo>
                        <a:pt x="481" y="241"/>
                      </a:lnTo>
                      <a:lnTo>
                        <a:pt x="631" y="228"/>
                      </a:lnTo>
                      <a:lnTo>
                        <a:pt x="328" y="293"/>
                      </a:lnTo>
                      <a:lnTo>
                        <a:pt x="396" y="360"/>
                      </a:lnTo>
                      <a:lnTo>
                        <a:pt x="458" y="360"/>
                      </a:lnTo>
                      <a:lnTo>
                        <a:pt x="427" y="373"/>
                      </a:lnTo>
                      <a:lnTo>
                        <a:pt x="307" y="304"/>
                      </a:lnTo>
                      <a:lnTo>
                        <a:pt x="209" y="293"/>
                      </a:lnTo>
                      <a:lnTo>
                        <a:pt x="207" y="322"/>
                      </a:lnTo>
                      <a:lnTo>
                        <a:pt x="253" y="337"/>
                      </a:lnTo>
                      <a:lnTo>
                        <a:pt x="208" y="346"/>
                      </a:lnTo>
                      <a:lnTo>
                        <a:pt x="328" y="423"/>
                      </a:lnTo>
                      <a:lnTo>
                        <a:pt x="279" y="426"/>
                      </a:lnTo>
                      <a:lnTo>
                        <a:pt x="399" y="431"/>
                      </a:lnTo>
                      <a:lnTo>
                        <a:pt x="332" y="448"/>
                      </a:lnTo>
                      <a:lnTo>
                        <a:pt x="368" y="473"/>
                      </a:lnTo>
                      <a:lnTo>
                        <a:pt x="260" y="434"/>
                      </a:lnTo>
                      <a:lnTo>
                        <a:pt x="198" y="450"/>
                      </a:lnTo>
                      <a:lnTo>
                        <a:pt x="172" y="512"/>
                      </a:lnTo>
                      <a:lnTo>
                        <a:pt x="235" y="491"/>
                      </a:lnTo>
                      <a:lnTo>
                        <a:pt x="222" y="514"/>
                      </a:lnTo>
                      <a:lnTo>
                        <a:pt x="245" y="514"/>
                      </a:lnTo>
                      <a:lnTo>
                        <a:pt x="283" y="466"/>
                      </a:lnTo>
                      <a:lnTo>
                        <a:pt x="269" y="506"/>
                      </a:lnTo>
                      <a:lnTo>
                        <a:pt x="304" y="511"/>
                      </a:lnTo>
                      <a:lnTo>
                        <a:pt x="239" y="530"/>
                      </a:lnTo>
                      <a:lnTo>
                        <a:pt x="279" y="531"/>
                      </a:lnTo>
                      <a:lnTo>
                        <a:pt x="245" y="542"/>
                      </a:lnTo>
                      <a:lnTo>
                        <a:pt x="273" y="568"/>
                      </a:lnTo>
                      <a:lnTo>
                        <a:pt x="322" y="568"/>
                      </a:lnTo>
                      <a:lnTo>
                        <a:pt x="368" y="521"/>
                      </a:lnTo>
                      <a:lnTo>
                        <a:pt x="287" y="590"/>
                      </a:lnTo>
                      <a:lnTo>
                        <a:pt x="208" y="535"/>
                      </a:lnTo>
                      <a:lnTo>
                        <a:pt x="143" y="545"/>
                      </a:lnTo>
                      <a:lnTo>
                        <a:pt x="199" y="602"/>
                      </a:lnTo>
                      <a:lnTo>
                        <a:pt x="102" y="632"/>
                      </a:lnTo>
                      <a:lnTo>
                        <a:pt x="112" y="673"/>
                      </a:lnTo>
                      <a:lnTo>
                        <a:pt x="129" y="637"/>
                      </a:lnTo>
                      <a:lnTo>
                        <a:pt x="134" y="673"/>
                      </a:lnTo>
                      <a:lnTo>
                        <a:pt x="200" y="656"/>
                      </a:lnTo>
                      <a:lnTo>
                        <a:pt x="249" y="690"/>
                      </a:lnTo>
                      <a:lnTo>
                        <a:pt x="284" y="687"/>
                      </a:lnTo>
                      <a:lnTo>
                        <a:pt x="259" y="660"/>
                      </a:lnTo>
                      <a:lnTo>
                        <a:pt x="328" y="668"/>
                      </a:lnTo>
                      <a:lnTo>
                        <a:pt x="322" y="642"/>
                      </a:lnTo>
                      <a:lnTo>
                        <a:pt x="352" y="673"/>
                      </a:lnTo>
                      <a:lnTo>
                        <a:pt x="371" y="667"/>
                      </a:lnTo>
                      <a:lnTo>
                        <a:pt x="360" y="648"/>
                      </a:lnTo>
                      <a:lnTo>
                        <a:pt x="417" y="667"/>
                      </a:lnTo>
                      <a:lnTo>
                        <a:pt x="418" y="695"/>
                      </a:lnTo>
                      <a:lnTo>
                        <a:pt x="517" y="667"/>
                      </a:lnTo>
                      <a:lnTo>
                        <a:pt x="536" y="627"/>
                      </a:lnTo>
                      <a:lnTo>
                        <a:pt x="489" y="637"/>
                      </a:lnTo>
                      <a:lnTo>
                        <a:pt x="489" y="598"/>
                      </a:lnTo>
                      <a:lnTo>
                        <a:pt x="379" y="596"/>
                      </a:lnTo>
                      <a:lnTo>
                        <a:pt x="526" y="588"/>
                      </a:lnTo>
                      <a:lnTo>
                        <a:pt x="549" y="560"/>
                      </a:lnTo>
                      <a:lnTo>
                        <a:pt x="526" y="526"/>
                      </a:lnTo>
                      <a:lnTo>
                        <a:pt x="610" y="530"/>
                      </a:lnTo>
                      <a:lnTo>
                        <a:pt x="628" y="514"/>
                      </a:lnTo>
                      <a:lnTo>
                        <a:pt x="571" y="506"/>
                      </a:lnTo>
                      <a:lnTo>
                        <a:pt x="647" y="500"/>
                      </a:lnTo>
                      <a:lnTo>
                        <a:pt x="597" y="477"/>
                      </a:lnTo>
                      <a:lnTo>
                        <a:pt x="656" y="462"/>
                      </a:lnTo>
                      <a:lnTo>
                        <a:pt x="653" y="444"/>
                      </a:lnTo>
                      <a:lnTo>
                        <a:pt x="543" y="434"/>
                      </a:lnTo>
                      <a:lnTo>
                        <a:pt x="605" y="418"/>
                      </a:lnTo>
                      <a:lnTo>
                        <a:pt x="541" y="414"/>
                      </a:lnTo>
                      <a:lnTo>
                        <a:pt x="656" y="426"/>
                      </a:lnTo>
                      <a:lnTo>
                        <a:pt x="660" y="407"/>
                      </a:lnTo>
                      <a:lnTo>
                        <a:pt x="541" y="400"/>
                      </a:lnTo>
                      <a:lnTo>
                        <a:pt x="700" y="373"/>
                      </a:lnTo>
                      <a:lnTo>
                        <a:pt x="654" y="349"/>
                      </a:lnTo>
                      <a:lnTo>
                        <a:pt x="774" y="360"/>
                      </a:lnTo>
                      <a:lnTo>
                        <a:pt x="808" y="322"/>
                      </a:lnTo>
                      <a:lnTo>
                        <a:pt x="751" y="319"/>
                      </a:lnTo>
                      <a:lnTo>
                        <a:pt x="825" y="316"/>
                      </a:lnTo>
                      <a:lnTo>
                        <a:pt x="817" y="287"/>
                      </a:lnTo>
                      <a:lnTo>
                        <a:pt x="853" y="293"/>
                      </a:lnTo>
                      <a:lnTo>
                        <a:pt x="1050" y="178"/>
                      </a:lnTo>
                      <a:lnTo>
                        <a:pt x="833" y="220"/>
                      </a:lnTo>
                      <a:lnTo>
                        <a:pt x="952" y="170"/>
                      </a:lnTo>
                      <a:lnTo>
                        <a:pt x="879" y="176"/>
                      </a:lnTo>
                      <a:lnTo>
                        <a:pt x="863" y="153"/>
                      </a:lnTo>
                      <a:lnTo>
                        <a:pt x="998" y="165"/>
                      </a:lnTo>
                      <a:lnTo>
                        <a:pt x="1173" y="107"/>
                      </a:lnTo>
                      <a:lnTo>
                        <a:pt x="1171" y="78"/>
                      </a:lnTo>
                      <a:lnTo>
                        <a:pt x="1099" y="78"/>
                      </a:lnTo>
                      <a:lnTo>
                        <a:pt x="1082" y="28"/>
                      </a:lnTo>
                      <a:lnTo>
                        <a:pt x="879" y="51"/>
                      </a:lnTo>
                      <a:lnTo>
                        <a:pt x="964" y="19"/>
                      </a:lnTo>
                      <a:lnTo>
                        <a:pt x="699" y="0"/>
                      </a:lnTo>
                      <a:lnTo>
                        <a:pt x="677" y="24"/>
                      </a:lnTo>
                      <a:lnTo>
                        <a:pt x="698" y="36"/>
                      </a:lnTo>
                      <a:lnTo>
                        <a:pt x="647" y="13"/>
                      </a:lnTo>
                      <a:lnTo>
                        <a:pt x="528" y="15"/>
                      </a:lnTo>
                      <a:lnTo>
                        <a:pt x="613" y="62"/>
                      </a:lnTo>
                      <a:lnTo>
                        <a:pt x="582" y="78"/>
                      </a:lnTo>
                      <a:lnTo>
                        <a:pt x="541" y="27"/>
                      </a:lnTo>
                      <a:lnTo>
                        <a:pt x="430" y="23"/>
                      </a:lnTo>
                      <a:lnTo>
                        <a:pt x="451" y="44"/>
                      </a:lnTo>
                      <a:lnTo>
                        <a:pt x="369" y="36"/>
                      </a:lnTo>
                      <a:lnTo>
                        <a:pt x="411" y="70"/>
                      </a:lnTo>
                      <a:lnTo>
                        <a:pt x="343" y="50"/>
                      </a:lnTo>
                      <a:lnTo>
                        <a:pt x="366" y="70"/>
                      </a:lnTo>
                      <a:lnTo>
                        <a:pt x="326" y="78"/>
                      </a:lnTo>
                      <a:lnTo>
                        <a:pt x="411" y="123"/>
                      </a:lnTo>
                      <a:lnTo>
                        <a:pt x="227" y="72"/>
                      </a:lnTo>
                      <a:lnTo>
                        <a:pt x="182" y="108"/>
                      </a:lnTo>
                      <a:lnTo>
                        <a:pt x="254" y="126"/>
                      </a:lnTo>
                      <a:lnTo>
                        <a:pt x="134" y="112"/>
                      </a:lnTo>
                      <a:lnTo>
                        <a:pt x="0" y="16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0" name="Freeform 272"/>
                <p:cNvSpPr/>
                <p:nvPr/>
              </p:nvSpPr>
              <p:spPr bwMode="auto">
                <a:xfrm>
                  <a:off x="6350102" y="2103549"/>
                  <a:ext cx="525634" cy="408933"/>
                </a:xfrm>
                <a:custGeom>
                  <a:avLst/>
                  <a:gdLst>
                    <a:gd name="T0" fmla="*/ 0 w 1094"/>
                    <a:gd name="T1" fmla="*/ 2 h 902"/>
                    <a:gd name="T2" fmla="*/ 3 w 1094"/>
                    <a:gd name="T3" fmla="*/ 0 h 902"/>
                    <a:gd name="T4" fmla="*/ 3 w 1094"/>
                    <a:gd name="T5" fmla="*/ 2 h 902"/>
                    <a:gd name="T6" fmla="*/ 4 w 1094"/>
                    <a:gd name="T7" fmla="*/ 5 h 902"/>
                    <a:gd name="T8" fmla="*/ 5 w 1094"/>
                    <a:gd name="T9" fmla="*/ 5 h 902"/>
                    <a:gd name="T10" fmla="*/ 4 w 1094"/>
                    <a:gd name="T11" fmla="*/ 4 h 902"/>
                    <a:gd name="T12" fmla="*/ 4 w 1094"/>
                    <a:gd name="T13" fmla="*/ 2 h 902"/>
                    <a:gd name="T14" fmla="*/ 4 w 1094"/>
                    <a:gd name="T15" fmla="*/ 1 h 902"/>
                    <a:gd name="T16" fmla="*/ 4 w 1094"/>
                    <a:gd name="T17" fmla="*/ 1 h 902"/>
                    <a:gd name="T18" fmla="*/ 7 w 1094"/>
                    <a:gd name="T19" fmla="*/ 0 h 902"/>
                    <a:gd name="T20" fmla="*/ 8 w 1094"/>
                    <a:gd name="T21" fmla="*/ 1 h 902"/>
                    <a:gd name="T22" fmla="*/ 8 w 1094"/>
                    <a:gd name="T23" fmla="*/ 4 h 902"/>
                    <a:gd name="T24" fmla="*/ 10 w 1094"/>
                    <a:gd name="T25" fmla="*/ 3 h 902"/>
                    <a:gd name="T26" fmla="*/ 13 w 1094"/>
                    <a:gd name="T27" fmla="*/ 3 h 902"/>
                    <a:gd name="T28" fmla="*/ 13 w 1094"/>
                    <a:gd name="T29" fmla="*/ 4 h 902"/>
                    <a:gd name="T30" fmla="*/ 14 w 1094"/>
                    <a:gd name="T31" fmla="*/ 5 h 902"/>
                    <a:gd name="T32" fmla="*/ 15 w 1094"/>
                    <a:gd name="T33" fmla="*/ 4 h 902"/>
                    <a:gd name="T34" fmla="*/ 17 w 1094"/>
                    <a:gd name="T35" fmla="*/ 5 h 902"/>
                    <a:gd name="T36" fmla="*/ 17 w 1094"/>
                    <a:gd name="T37" fmla="*/ 5 h 902"/>
                    <a:gd name="T38" fmla="*/ 18 w 1094"/>
                    <a:gd name="T39" fmla="*/ 6 h 902"/>
                    <a:gd name="T40" fmla="*/ 19 w 1094"/>
                    <a:gd name="T41" fmla="*/ 6 h 902"/>
                    <a:gd name="T42" fmla="*/ 19 w 1094"/>
                    <a:gd name="T43" fmla="*/ 7 h 902"/>
                    <a:gd name="T44" fmla="*/ 19 w 1094"/>
                    <a:gd name="T45" fmla="*/ 7 h 902"/>
                    <a:gd name="T46" fmla="*/ 19 w 1094"/>
                    <a:gd name="T47" fmla="*/ 8 h 902"/>
                    <a:gd name="T48" fmla="*/ 19 w 1094"/>
                    <a:gd name="T49" fmla="*/ 9 h 902"/>
                    <a:gd name="T50" fmla="*/ 19 w 1094"/>
                    <a:gd name="T51" fmla="*/ 10 h 902"/>
                    <a:gd name="T52" fmla="*/ 23 w 1094"/>
                    <a:gd name="T53" fmla="*/ 11 h 902"/>
                    <a:gd name="T54" fmla="*/ 24 w 1094"/>
                    <a:gd name="T55" fmla="*/ 12 h 902"/>
                    <a:gd name="T56" fmla="*/ 25 w 1094"/>
                    <a:gd name="T57" fmla="*/ 13 h 902"/>
                    <a:gd name="T58" fmla="*/ 25 w 1094"/>
                    <a:gd name="T59" fmla="*/ 14 h 902"/>
                    <a:gd name="T60" fmla="*/ 25 w 1094"/>
                    <a:gd name="T61" fmla="*/ 15 h 902"/>
                    <a:gd name="T62" fmla="*/ 23 w 1094"/>
                    <a:gd name="T63" fmla="*/ 16 h 902"/>
                    <a:gd name="T64" fmla="*/ 19 w 1094"/>
                    <a:gd name="T65" fmla="*/ 14 h 902"/>
                    <a:gd name="T66" fmla="*/ 20 w 1094"/>
                    <a:gd name="T67" fmla="*/ 15 h 902"/>
                    <a:gd name="T68" fmla="*/ 21 w 1094"/>
                    <a:gd name="T69" fmla="*/ 16 h 902"/>
                    <a:gd name="T70" fmla="*/ 22 w 1094"/>
                    <a:gd name="T71" fmla="*/ 17 h 902"/>
                    <a:gd name="T72" fmla="*/ 23 w 1094"/>
                    <a:gd name="T73" fmla="*/ 20 h 902"/>
                    <a:gd name="T74" fmla="*/ 21 w 1094"/>
                    <a:gd name="T75" fmla="*/ 21 h 902"/>
                    <a:gd name="T76" fmla="*/ 16 w 1094"/>
                    <a:gd name="T77" fmla="*/ 18 h 902"/>
                    <a:gd name="T78" fmla="*/ 15 w 1094"/>
                    <a:gd name="T79" fmla="*/ 18 h 902"/>
                    <a:gd name="T80" fmla="*/ 14 w 1094"/>
                    <a:gd name="T81" fmla="*/ 16 h 902"/>
                    <a:gd name="T82" fmla="*/ 13 w 1094"/>
                    <a:gd name="T83" fmla="*/ 17 h 902"/>
                    <a:gd name="T84" fmla="*/ 11 w 1094"/>
                    <a:gd name="T85" fmla="*/ 17 h 902"/>
                    <a:gd name="T86" fmla="*/ 15 w 1094"/>
                    <a:gd name="T87" fmla="*/ 15 h 902"/>
                    <a:gd name="T88" fmla="*/ 16 w 1094"/>
                    <a:gd name="T89" fmla="*/ 12 h 902"/>
                    <a:gd name="T90" fmla="*/ 13 w 1094"/>
                    <a:gd name="T91" fmla="*/ 9 h 902"/>
                    <a:gd name="T92" fmla="*/ 12 w 1094"/>
                    <a:gd name="T93" fmla="*/ 10 h 902"/>
                    <a:gd name="T94" fmla="*/ 13 w 1094"/>
                    <a:gd name="T95" fmla="*/ 9 h 902"/>
                    <a:gd name="T96" fmla="*/ 11 w 1094"/>
                    <a:gd name="T97" fmla="*/ 7 h 902"/>
                    <a:gd name="T98" fmla="*/ 10 w 1094"/>
                    <a:gd name="T99" fmla="*/ 7 h 902"/>
                    <a:gd name="T100" fmla="*/ 8 w 1094"/>
                    <a:gd name="T101" fmla="*/ 8 h 902"/>
                    <a:gd name="T102" fmla="*/ 1 w 1094"/>
                    <a:gd name="T103" fmla="*/ 5 h 902"/>
                    <a:gd name="T104" fmla="*/ 0 w 1094"/>
                    <a:gd name="T105" fmla="*/ 5 h 902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w 1094"/>
                    <a:gd name="T160" fmla="*/ 0 h 902"/>
                    <a:gd name="T161" fmla="*/ 1094 w 1094"/>
                    <a:gd name="T162" fmla="*/ 902 h 902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T159" t="T160" r="T161" b="T162"/>
                  <a:pathLst>
                    <a:path w="1094" h="902">
                      <a:moveTo>
                        <a:pt x="0" y="202"/>
                      </a:moveTo>
                      <a:lnTo>
                        <a:pt x="9" y="103"/>
                      </a:lnTo>
                      <a:lnTo>
                        <a:pt x="54" y="31"/>
                      </a:lnTo>
                      <a:lnTo>
                        <a:pt x="130" y="0"/>
                      </a:lnTo>
                      <a:lnTo>
                        <a:pt x="191" y="14"/>
                      </a:lnTo>
                      <a:lnTo>
                        <a:pt x="125" y="103"/>
                      </a:lnTo>
                      <a:lnTo>
                        <a:pt x="144" y="158"/>
                      </a:lnTo>
                      <a:lnTo>
                        <a:pt x="191" y="212"/>
                      </a:lnTo>
                      <a:lnTo>
                        <a:pt x="130" y="231"/>
                      </a:lnTo>
                      <a:lnTo>
                        <a:pt x="195" y="230"/>
                      </a:lnTo>
                      <a:lnTo>
                        <a:pt x="204" y="184"/>
                      </a:lnTo>
                      <a:lnTo>
                        <a:pt x="155" y="156"/>
                      </a:lnTo>
                      <a:lnTo>
                        <a:pt x="195" y="123"/>
                      </a:lnTo>
                      <a:lnTo>
                        <a:pt x="166" y="78"/>
                      </a:lnTo>
                      <a:lnTo>
                        <a:pt x="229" y="89"/>
                      </a:lnTo>
                      <a:lnTo>
                        <a:pt x="170" y="68"/>
                      </a:lnTo>
                      <a:lnTo>
                        <a:pt x="236" y="73"/>
                      </a:lnTo>
                      <a:lnTo>
                        <a:pt x="190" y="42"/>
                      </a:lnTo>
                      <a:lnTo>
                        <a:pt x="242" y="43"/>
                      </a:lnTo>
                      <a:lnTo>
                        <a:pt x="279" y="14"/>
                      </a:lnTo>
                      <a:lnTo>
                        <a:pt x="324" y="11"/>
                      </a:lnTo>
                      <a:lnTo>
                        <a:pt x="326" y="51"/>
                      </a:lnTo>
                      <a:lnTo>
                        <a:pt x="358" y="68"/>
                      </a:lnTo>
                      <a:lnTo>
                        <a:pt x="348" y="158"/>
                      </a:lnTo>
                      <a:lnTo>
                        <a:pt x="392" y="115"/>
                      </a:lnTo>
                      <a:lnTo>
                        <a:pt x="414" y="134"/>
                      </a:lnTo>
                      <a:lnTo>
                        <a:pt x="476" y="91"/>
                      </a:lnTo>
                      <a:lnTo>
                        <a:pt x="564" y="115"/>
                      </a:lnTo>
                      <a:lnTo>
                        <a:pt x="603" y="158"/>
                      </a:lnTo>
                      <a:lnTo>
                        <a:pt x="575" y="184"/>
                      </a:lnTo>
                      <a:lnTo>
                        <a:pt x="630" y="173"/>
                      </a:lnTo>
                      <a:lnTo>
                        <a:pt x="614" y="199"/>
                      </a:lnTo>
                      <a:lnTo>
                        <a:pt x="646" y="212"/>
                      </a:lnTo>
                      <a:lnTo>
                        <a:pt x="671" y="180"/>
                      </a:lnTo>
                      <a:lnTo>
                        <a:pt x="711" y="196"/>
                      </a:lnTo>
                      <a:lnTo>
                        <a:pt x="724" y="222"/>
                      </a:lnTo>
                      <a:lnTo>
                        <a:pt x="690" y="230"/>
                      </a:lnTo>
                      <a:lnTo>
                        <a:pt x="742" y="230"/>
                      </a:lnTo>
                      <a:lnTo>
                        <a:pt x="733" y="265"/>
                      </a:lnTo>
                      <a:lnTo>
                        <a:pt x="772" y="246"/>
                      </a:lnTo>
                      <a:lnTo>
                        <a:pt x="748" y="276"/>
                      </a:lnTo>
                      <a:lnTo>
                        <a:pt x="826" y="268"/>
                      </a:lnTo>
                      <a:lnTo>
                        <a:pt x="782" y="299"/>
                      </a:lnTo>
                      <a:lnTo>
                        <a:pt x="820" y="299"/>
                      </a:lnTo>
                      <a:lnTo>
                        <a:pt x="804" y="321"/>
                      </a:lnTo>
                      <a:lnTo>
                        <a:pt x="838" y="291"/>
                      </a:lnTo>
                      <a:lnTo>
                        <a:pt x="874" y="322"/>
                      </a:lnTo>
                      <a:lnTo>
                        <a:pt x="810" y="348"/>
                      </a:lnTo>
                      <a:lnTo>
                        <a:pt x="900" y="371"/>
                      </a:lnTo>
                      <a:lnTo>
                        <a:pt x="825" y="379"/>
                      </a:lnTo>
                      <a:lnTo>
                        <a:pt x="853" y="391"/>
                      </a:lnTo>
                      <a:lnTo>
                        <a:pt x="829" y="419"/>
                      </a:lnTo>
                      <a:lnTo>
                        <a:pt x="921" y="473"/>
                      </a:lnTo>
                      <a:lnTo>
                        <a:pt x="968" y="464"/>
                      </a:lnTo>
                      <a:lnTo>
                        <a:pt x="986" y="529"/>
                      </a:lnTo>
                      <a:lnTo>
                        <a:pt x="1031" y="523"/>
                      </a:lnTo>
                      <a:lnTo>
                        <a:pt x="1029" y="551"/>
                      </a:lnTo>
                      <a:lnTo>
                        <a:pt x="1094" y="565"/>
                      </a:lnTo>
                      <a:lnTo>
                        <a:pt x="1086" y="599"/>
                      </a:lnTo>
                      <a:lnTo>
                        <a:pt x="1053" y="594"/>
                      </a:lnTo>
                      <a:lnTo>
                        <a:pt x="1068" y="614"/>
                      </a:lnTo>
                      <a:lnTo>
                        <a:pt x="1052" y="647"/>
                      </a:lnTo>
                      <a:lnTo>
                        <a:pt x="1020" y="632"/>
                      </a:lnTo>
                      <a:lnTo>
                        <a:pt x="1013" y="697"/>
                      </a:lnTo>
                      <a:lnTo>
                        <a:pt x="888" y="578"/>
                      </a:lnTo>
                      <a:lnTo>
                        <a:pt x="842" y="588"/>
                      </a:lnTo>
                      <a:lnTo>
                        <a:pt x="874" y="618"/>
                      </a:lnTo>
                      <a:lnTo>
                        <a:pt x="849" y="647"/>
                      </a:lnTo>
                      <a:lnTo>
                        <a:pt x="868" y="645"/>
                      </a:lnTo>
                      <a:lnTo>
                        <a:pt x="895" y="703"/>
                      </a:lnTo>
                      <a:lnTo>
                        <a:pt x="956" y="717"/>
                      </a:lnTo>
                      <a:lnTo>
                        <a:pt x="950" y="751"/>
                      </a:lnTo>
                      <a:lnTo>
                        <a:pt x="983" y="778"/>
                      </a:lnTo>
                      <a:lnTo>
                        <a:pt x="969" y="858"/>
                      </a:lnTo>
                      <a:lnTo>
                        <a:pt x="810" y="775"/>
                      </a:lnTo>
                      <a:lnTo>
                        <a:pt x="916" y="902"/>
                      </a:lnTo>
                      <a:lnTo>
                        <a:pt x="719" y="832"/>
                      </a:lnTo>
                      <a:lnTo>
                        <a:pt x="691" y="789"/>
                      </a:lnTo>
                      <a:lnTo>
                        <a:pt x="718" y="785"/>
                      </a:lnTo>
                      <a:lnTo>
                        <a:pt x="654" y="762"/>
                      </a:lnTo>
                      <a:lnTo>
                        <a:pt x="635" y="713"/>
                      </a:lnTo>
                      <a:lnTo>
                        <a:pt x="584" y="697"/>
                      </a:lnTo>
                      <a:lnTo>
                        <a:pt x="581" y="729"/>
                      </a:lnTo>
                      <a:lnTo>
                        <a:pt x="553" y="713"/>
                      </a:lnTo>
                      <a:lnTo>
                        <a:pt x="512" y="744"/>
                      </a:lnTo>
                      <a:lnTo>
                        <a:pt x="457" y="713"/>
                      </a:lnTo>
                      <a:lnTo>
                        <a:pt x="483" y="657"/>
                      </a:lnTo>
                      <a:lnTo>
                        <a:pt x="630" y="657"/>
                      </a:lnTo>
                      <a:lnTo>
                        <a:pt x="594" y="602"/>
                      </a:lnTo>
                      <a:lnTo>
                        <a:pt x="677" y="523"/>
                      </a:lnTo>
                      <a:lnTo>
                        <a:pt x="619" y="417"/>
                      </a:lnTo>
                      <a:lnTo>
                        <a:pt x="578" y="407"/>
                      </a:lnTo>
                      <a:lnTo>
                        <a:pt x="602" y="391"/>
                      </a:lnTo>
                      <a:lnTo>
                        <a:pt x="513" y="418"/>
                      </a:lnTo>
                      <a:lnTo>
                        <a:pt x="512" y="388"/>
                      </a:lnTo>
                      <a:lnTo>
                        <a:pt x="544" y="371"/>
                      </a:lnTo>
                      <a:lnTo>
                        <a:pt x="477" y="329"/>
                      </a:lnTo>
                      <a:lnTo>
                        <a:pt x="476" y="298"/>
                      </a:lnTo>
                      <a:lnTo>
                        <a:pt x="412" y="280"/>
                      </a:lnTo>
                      <a:lnTo>
                        <a:pt x="428" y="325"/>
                      </a:lnTo>
                      <a:lnTo>
                        <a:pt x="321" y="308"/>
                      </a:lnTo>
                      <a:lnTo>
                        <a:pt x="350" y="334"/>
                      </a:lnTo>
                      <a:lnTo>
                        <a:pt x="71" y="289"/>
                      </a:lnTo>
                      <a:lnTo>
                        <a:pt x="22" y="230"/>
                      </a:lnTo>
                      <a:lnTo>
                        <a:pt x="111" y="233"/>
                      </a:lnTo>
                      <a:lnTo>
                        <a:pt x="0" y="20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" name="Freeform 273"/>
                <p:cNvSpPr/>
                <p:nvPr/>
              </p:nvSpPr>
              <p:spPr bwMode="auto">
                <a:xfrm>
                  <a:off x="6404013" y="2385187"/>
                  <a:ext cx="121300" cy="89106"/>
                </a:xfrm>
                <a:custGeom>
                  <a:avLst/>
                  <a:gdLst>
                    <a:gd name="T0" fmla="*/ 0 w 254"/>
                    <a:gd name="T1" fmla="*/ 4 h 197"/>
                    <a:gd name="T2" fmla="*/ 1 w 254"/>
                    <a:gd name="T3" fmla="*/ 3 h 197"/>
                    <a:gd name="T4" fmla="*/ 1 w 254"/>
                    <a:gd name="T5" fmla="*/ 0 h 197"/>
                    <a:gd name="T6" fmla="*/ 2 w 254"/>
                    <a:gd name="T7" fmla="*/ 1 h 197"/>
                    <a:gd name="T8" fmla="*/ 3 w 254"/>
                    <a:gd name="T9" fmla="*/ 1 h 197"/>
                    <a:gd name="T10" fmla="*/ 6 w 254"/>
                    <a:gd name="T11" fmla="*/ 3 h 197"/>
                    <a:gd name="T12" fmla="*/ 5 w 254"/>
                    <a:gd name="T13" fmla="*/ 4 h 197"/>
                    <a:gd name="T14" fmla="*/ 3 w 254"/>
                    <a:gd name="T15" fmla="*/ 3 h 197"/>
                    <a:gd name="T16" fmla="*/ 2 w 254"/>
                    <a:gd name="T17" fmla="*/ 5 h 197"/>
                    <a:gd name="T18" fmla="*/ 1 w 254"/>
                    <a:gd name="T19" fmla="*/ 3 h 197"/>
                    <a:gd name="T20" fmla="*/ 0 w 254"/>
                    <a:gd name="T21" fmla="*/ 4 h 19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54"/>
                    <a:gd name="T34" fmla="*/ 0 h 197"/>
                    <a:gd name="T35" fmla="*/ 254 w 254"/>
                    <a:gd name="T36" fmla="*/ 197 h 19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54" h="197">
                      <a:moveTo>
                        <a:pt x="0" y="161"/>
                      </a:moveTo>
                      <a:lnTo>
                        <a:pt x="36" y="123"/>
                      </a:lnTo>
                      <a:lnTo>
                        <a:pt x="59" y="0"/>
                      </a:lnTo>
                      <a:lnTo>
                        <a:pt x="80" y="45"/>
                      </a:lnTo>
                      <a:lnTo>
                        <a:pt x="140" y="55"/>
                      </a:lnTo>
                      <a:lnTo>
                        <a:pt x="254" y="145"/>
                      </a:lnTo>
                      <a:lnTo>
                        <a:pt x="239" y="176"/>
                      </a:lnTo>
                      <a:lnTo>
                        <a:pt x="136" y="134"/>
                      </a:lnTo>
                      <a:lnTo>
                        <a:pt x="73" y="197"/>
                      </a:lnTo>
                      <a:lnTo>
                        <a:pt x="57" y="145"/>
                      </a:lnTo>
                      <a:lnTo>
                        <a:pt x="0" y="16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" name="Freeform 274"/>
                <p:cNvSpPr/>
                <p:nvPr/>
              </p:nvSpPr>
              <p:spPr bwMode="auto">
                <a:xfrm>
                  <a:off x="6914484" y="2805258"/>
                  <a:ext cx="121300" cy="132068"/>
                </a:xfrm>
                <a:custGeom>
                  <a:avLst/>
                  <a:gdLst>
                    <a:gd name="T0" fmla="*/ 0 w 255"/>
                    <a:gd name="T1" fmla="*/ 6 h 286"/>
                    <a:gd name="T2" fmla="*/ 2 w 255"/>
                    <a:gd name="T3" fmla="*/ 0 h 286"/>
                    <a:gd name="T4" fmla="*/ 3 w 255"/>
                    <a:gd name="T5" fmla="*/ 0 h 286"/>
                    <a:gd name="T6" fmla="*/ 2 w 255"/>
                    <a:gd name="T7" fmla="*/ 3 h 286"/>
                    <a:gd name="T8" fmla="*/ 3 w 255"/>
                    <a:gd name="T9" fmla="*/ 2 h 286"/>
                    <a:gd name="T10" fmla="*/ 3 w 255"/>
                    <a:gd name="T11" fmla="*/ 3 h 286"/>
                    <a:gd name="T12" fmla="*/ 5 w 255"/>
                    <a:gd name="T13" fmla="*/ 3 h 286"/>
                    <a:gd name="T14" fmla="*/ 5 w 255"/>
                    <a:gd name="T15" fmla="*/ 4 h 286"/>
                    <a:gd name="T16" fmla="*/ 5 w 255"/>
                    <a:gd name="T17" fmla="*/ 4 h 286"/>
                    <a:gd name="T18" fmla="*/ 5 w 255"/>
                    <a:gd name="T19" fmla="*/ 6 h 286"/>
                    <a:gd name="T20" fmla="*/ 6 w 255"/>
                    <a:gd name="T21" fmla="*/ 5 h 286"/>
                    <a:gd name="T22" fmla="*/ 6 w 255"/>
                    <a:gd name="T23" fmla="*/ 6 h 286"/>
                    <a:gd name="T24" fmla="*/ 5 w 255"/>
                    <a:gd name="T25" fmla="*/ 7 h 286"/>
                    <a:gd name="T26" fmla="*/ 5 w 255"/>
                    <a:gd name="T27" fmla="*/ 6 h 286"/>
                    <a:gd name="T28" fmla="*/ 5 w 255"/>
                    <a:gd name="T29" fmla="*/ 7 h 286"/>
                    <a:gd name="T30" fmla="*/ 5 w 255"/>
                    <a:gd name="T31" fmla="*/ 5 h 286"/>
                    <a:gd name="T32" fmla="*/ 3 w 255"/>
                    <a:gd name="T33" fmla="*/ 7 h 286"/>
                    <a:gd name="T34" fmla="*/ 4 w 255"/>
                    <a:gd name="T35" fmla="*/ 6 h 286"/>
                    <a:gd name="T36" fmla="*/ 3 w 255"/>
                    <a:gd name="T37" fmla="*/ 6 h 286"/>
                    <a:gd name="T38" fmla="*/ 3 w 255"/>
                    <a:gd name="T39" fmla="*/ 5 h 286"/>
                    <a:gd name="T40" fmla="*/ 0 w 255"/>
                    <a:gd name="T41" fmla="*/ 6 h 28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255"/>
                    <a:gd name="T64" fmla="*/ 0 h 286"/>
                    <a:gd name="T65" fmla="*/ 255 w 255"/>
                    <a:gd name="T66" fmla="*/ 286 h 28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255" h="286">
                      <a:moveTo>
                        <a:pt x="0" y="223"/>
                      </a:moveTo>
                      <a:lnTo>
                        <a:pt x="106" y="15"/>
                      </a:lnTo>
                      <a:lnTo>
                        <a:pt x="146" y="0"/>
                      </a:lnTo>
                      <a:lnTo>
                        <a:pt x="97" y="112"/>
                      </a:lnTo>
                      <a:lnTo>
                        <a:pt x="130" y="87"/>
                      </a:lnTo>
                      <a:lnTo>
                        <a:pt x="152" y="135"/>
                      </a:lnTo>
                      <a:lnTo>
                        <a:pt x="219" y="135"/>
                      </a:lnTo>
                      <a:lnTo>
                        <a:pt x="205" y="177"/>
                      </a:lnTo>
                      <a:lnTo>
                        <a:pt x="240" y="173"/>
                      </a:lnTo>
                      <a:lnTo>
                        <a:pt x="214" y="219"/>
                      </a:lnTo>
                      <a:lnTo>
                        <a:pt x="248" y="194"/>
                      </a:lnTo>
                      <a:lnTo>
                        <a:pt x="255" y="237"/>
                      </a:lnTo>
                      <a:lnTo>
                        <a:pt x="222" y="286"/>
                      </a:lnTo>
                      <a:lnTo>
                        <a:pt x="219" y="250"/>
                      </a:lnTo>
                      <a:lnTo>
                        <a:pt x="204" y="269"/>
                      </a:lnTo>
                      <a:lnTo>
                        <a:pt x="204" y="214"/>
                      </a:lnTo>
                      <a:lnTo>
                        <a:pt x="140" y="269"/>
                      </a:lnTo>
                      <a:lnTo>
                        <a:pt x="178" y="233"/>
                      </a:lnTo>
                      <a:lnTo>
                        <a:pt x="123" y="237"/>
                      </a:lnTo>
                      <a:lnTo>
                        <a:pt x="138" y="217"/>
                      </a:lnTo>
                      <a:lnTo>
                        <a:pt x="0" y="22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" name="Freeform 275"/>
                <p:cNvSpPr/>
                <p:nvPr/>
              </p:nvSpPr>
              <p:spPr bwMode="auto">
                <a:xfrm>
                  <a:off x="6617973" y="4291418"/>
                  <a:ext cx="151625" cy="838551"/>
                </a:xfrm>
                <a:custGeom>
                  <a:avLst/>
                  <a:gdLst>
                    <a:gd name="T0" fmla="*/ 0 w 317"/>
                    <a:gd name="T1" fmla="*/ 33 h 1850"/>
                    <a:gd name="T2" fmla="*/ 1 w 317"/>
                    <a:gd name="T3" fmla="*/ 32 h 1850"/>
                    <a:gd name="T4" fmla="*/ 1 w 317"/>
                    <a:gd name="T5" fmla="*/ 33 h 1850"/>
                    <a:gd name="T6" fmla="*/ 3 w 317"/>
                    <a:gd name="T7" fmla="*/ 31 h 1850"/>
                    <a:gd name="T8" fmla="*/ 2 w 317"/>
                    <a:gd name="T9" fmla="*/ 30 h 1850"/>
                    <a:gd name="T10" fmla="*/ 3 w 317"/>
                    <a:gd name="T11" fmla="*/ 27 h 1850"/>
                    <a:gd name="T12" fmla="*/ 1 w 317"/>
                    <a:gd name="T13" fmla="*/ 27 h 1850"/>
                    <a:gd name="T14" fmla="*/ 2 w 317"/>
                    <a:gd name="T15" fmla="*/ 22 h 1850"/>
                    <a:gd name="T16" fmla="*/ 3 w 317"/>
                    <a:gd name="T17" fmla="*/ 17 h 1850"/>
                    <a:gd name="T18" fmla="*/ 3 w 317"/>
                    <a:gd name="T19" fmla="*/ 13 h 1850"/>
                    <a:gd name="T20" fmla="*/ 5 w 317"/>
                    <a:gd name="T21" fmla="*/ 4 h 1850"/>
                    <a:gd name="T22" fmla="*/ 4 w 317"/>
                    <a:gd name="T23" fmla="*/ 1 h 1850"/>
                    <a:gd name="T24" fmla="*/ 5 w 317"/>
                    <a:gd name="T25" fmla="*/ 0 h 1850"/>
                    <a:gd name="T26" fmla="*/ 6 w 317"/>
                    <a:gd name="T27" fmla="*/ 2 h 1850"/>
                    <a:gd name="T28" fmla="*/ 7 w 317"/>
                    <a:gd name="T29" fmla="*/ 6 h 1850"/>
                    <a:gd name="T30" fmla="*/ 7 w 317"/>
                    <a:gd name="T31" fmla="*/ 6 h 1850"/>
                    <a:gd name="T32" fmla="*/ 7 w 317"/>
                    <a:gd name="T33" fmla="*/ 7 h 1850"/>
                    <a:gd name="T34" fmla="*/ 6 w 317"/>
                    <a:gd name="T35" fmla="*/ 7 h 1850"/>
                    <a:gd name="T36" fmla="*/ 6 w 317"/>
                    <a:gd name="T37" fmla="*/ 10 h 1850"/>
                    <a:gd name="T38" fmla="*/ 5 w 317"/>
                    <a:gd name="T39" fmla="*/ 11 h 1850"/>
                    <a:gd name="T40" fmla="*/ 5 w 317"/>
                    <a:gd name="T41" fmla="*/ 15 h 1850"/>
                    <a:gd name="T42" fmla="*/ 5 w 317"/>
                    <a:gd name="T43" fmla="*/ 18 h 1850"/>
                    <a:gd name="T44" fmla="*/ 4 w 317"/>
                    <a:gd name="T45" fmla="*/ 21 h 1850"/>
                    <a:gd name="T46" fmla="*/ 3 w 317"/>
                    <a:gd name="T47" fmla="*/ 28 h 1850"/>
                    <a:gd name="T48" fmla="*/ 4 w 317"/>
                    <a:gd name="T49" fmla="*/ 31 h 1850"/>
                    <a:gd name="T50" fmla="*/ 3 w 317"/>
                    <a:gd name="T51" fmla="*/ 31 h 1850"/>
                    <a:gd name="T52" fmla="*/ 3 w 317"/>
                    <a:gd name="T53" fmla="*/ 33 h 1850"/>
                    <a:gd name="T54" fmla="*/ 2 w 317"/>
                    <a:gd name="T55" fmla="*/ 38 h 1850"/>
                    <a:gd name="T56" fmla="*/ 2 w 317"/>
                    <a:gd name="T57" fmla="*/ 39 h 1850"/>
                    <a:gd name="T58" fmla="*/ 3 w 317"/>
                    <a:gd name="T59" fmla="*/ 38 h 1850"/>
                    <a:gd name="T60" fmla="*/ 3 w 317"/>
                    <a:gd name="T61" fmla="*/ 40 h 1850"/>
                    <a:gd name="T62" fmla="*/ 6 w 317"/>
                    <a:gd name="T63" fmla="*/ 41 h 1850"/>
                    <a:gd name="T64" fmla="*/ 4 w 317"/>
                    <a:gd name="T65" fmla="*/ 41 h 1850"/>
                    <a:gd name="T66" fmla="*/ 4 w 317"/>
                    <a:gd name="T67" fmla="*/ 43 h 1850"/>
                    <a:gd name="T68" fmla="*/ 3 w 317"/>
                    <a:gd name="T69" fmla="*/ 42 h 1850"/>
                    <a:gd name="T70" fmla="*/ 4 w 317"/>
                    <a:gd name="T71" fmla="*/ 42 h 1850"/>
                    <a:gd name="T72" fmla="*/ 3 w 317"/>
                    <a:gd name="T73" fmla="*/ 41 h 1850"/>
                    <a:gd name="T74" fmla="*/ 2 w 317"/>
                    <a:gd name="T75" fmla="*/ 40 h 1850"/>
                    <a:gd name="T76" fmla="*/ 2 w 317"/>
                    <a:gd name="T77" fmla="*/ 40 h 1850"/>
                    <a:gd name="T78" fmla="*/ 1 w 317"/>
                    <a:gd name="T79" fmla="*/ 39 h 1850"/>
                    <a:gd name="T80" fmla="*/ 1 w 317"/>
                    <a:gd name="T81" fmla="*/ 38 h 1850"/>
                    <a:gd name="T82" fmla="*/ 1 w 317"/>
                    <a:gd name="T83" fmla="*/ 38 h 1850"/>
                    <a:gd name="T84" fmla="*/ 1 w 317"/>
                    <a:gd name="T85" fmla="*/ 37 h 1850"/>
                    <a:gd name="T86" fmla="*/ 1 w 317"/>
                    <a:gd name="T87" fmla="*/ 35 h 1850"/>
                    <a:gd name="T88" fmla="*/ 2 w 317"/>
                    <a:gd name="T89" fmla="*/ 35 h 1850"/>
                    <a:gd name="T90" fmla="*/ 1 w 317"/>
                    <a:gd name="T91" fmla="*/ 34 h 1850"/>
                    <a:gd name="T92" fmla="*/ 1 w 317"/>
                    <a:gd name="T93" fmla="*/ 33 h 1850"/>
                    <a:gd name="T94" fmla="*/ 0 w 317"/>
                    <a:gd name="T95" fmla="*/ 33 h 1850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17"/>
                    <a:gd name="T145" fmla="*/ 0 h 1850"/>
                    <a:gd name="T146" fmla="*/ 317 w 317"/>
                    <a:gd name="T147" fmla="*/ 1850 h 1850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17" h="1850">
                      <a:moveTo>
                        <a:pt x="0" y="1447"/>
                      </a:moveTo>
                      <a:lnTo>
                        <a:pt x="22" y="1397"/>
                      </a:lnTo>
                      <a:lnTo>
                        <a:pt x="68" y="1434"/>
                      </a:lnTo>
                      <a:lnTo>
                        <a:pt x="108" y="1339"/>
                      </a:lnTo>
                      <a:lnTo>
                        <a:pt x="91" y="1302"/>
                      </a:lnTo>
                      <a:lnTo>
                        <a:pt x="124" y="1171"/>
                      </a:lnTo>
                      <a:lnTo>
                        <a:pt x="67" y="1160"/>
                      </a:lnTo>
                      <a:lnTo>
                        <a:pt x="74" y="948"/>
                      </a:lnTo>
                      <a:lnTo>
                        <a:pt x="153" y="726"/>
                      </a:lnTo>
                      <a:lnTo>
                        <a:pt x="152" y="541"/>
                      </a:lnTo>
                      <a:lnTo>
                        <a:pt x="207" y="188"/>
                      </a:lnTo>
                      <a:lnTo>
                        <a:pt x="188" y="32"/>
                      </a:lnTo>
                      <a:lnTo>
                        <a:pt x="226" y="0"/>
                      </a:lnTo>
                      <a:lnTo>
                        <a:pt x="266" y="81"/>
                      </a:lnTo>
                      <a:lnTo>
                        <a:pt x="289" y="246"/>
                      </a:lnTo>
                      <a:lnTo>
                        <a:pt x="317" y="249"/>
                      </a:lnTo>
                      <a:lnTo>
                        <a:pt x="312" y="304"/>
                      </a:lnTo>
                      <a:lnTo>
                        <a:pt x="270" y="327"/>
                      </a:lnTo>
                      <a:lnTo>
                        <a:pt x="271" y="435"/>
                      </a:lnTo>
                      <a:lnTo>
                        <a:pt x="226" y="496"/>
                      </a:lnTo>
                      <a:lnTo>
                        <a:pt x="192" y="648"/>
                      </a:lnTo>
                      <a:lnTo>
                        <a:pt x="218" y="791"/>
                      </a:lnTo>
                      <a:lnTo>
                        <a:pt x="168" y="913"/>
                      </a:lnTo>
                      <a:lnTo>
                        <a:pt x="135" y="1218"/>
                      </a:lnTo>
                      <a:lnTo>
                        <a:pt x="162" y="1329"/>
                      </a:lnTo>
                      <a:lnTo>
                        <a:pt x="137" y="1339"/>
                      </a:lnTo>
                      <a:lnTo>
                        <a:pt x="148" y="1438"/>
                      </a:lnTo>
                      <a:lnTo>
                        <a:pt x="83" y="1643"/>
                      </a:lnTo>
                      <a:lnTo>
                        <a:pt x="90" y="1677"/>
                      </a:lnTo>
                      <a:lnTo>
                        <a:pt x="121" y="1664"/>
                      </a:lnTo>
                      <a:lnTo>
                        <a:pt x="135" y="1743"/>
                      </a:lnTo>
                      <a:lnTo>
                        <a:pt x="271" y="1761"/>
                      </a:lnTo>
                      <a:lnTo>
                        <a:pt x="180" y="1792"/>
                      </a:lnTo>
                      <a:lnTo>
                        <a:pt x="168" y="1850"/>
                      </a:lnTo>
                      <a:lnTo>
                        <a:pt x="129" y="1834"/>
                      </a:lnTo>
                      <a:lnTo>
                        <a:pt x="171" y="1797"/>
                      </a:lnTo>
                      <a:lnTo>
                        <a:pt x="107" y="1780"/>
                      </a:lnTo>
                      <a:lnTo>
                        <a:pt x="98" y="1715"/>
                      </a:lnTo>
                      <a:lnTo>
                        <a:pt x="80" y="1746"/>
                      </a:lnTo>
                      <a:lnTo>
                        <a:pt x="56" y="1685"/>
                      </a:lnTo>
                      <a:lnTo>
                        <a:pt x="68" y="1668"/>
                      </a:lnTo>
                      <a:lnTo>
                        <a:pt x="36" y="1638"/>
                      </a:lnTo>
                      <a:lnTo>
                        <a:pt x="67" y="1607"/>
                      </a:lnTo>
                      <a:lnTo>
                        <a:pt x="38" y="1516"/>
                      </a:lnTo>
                      <a:lnTo>
                        <a:pt x="89" y="1526"/>
                      </a:lnTo>
                      <a:lnTo>
                        <a:pt x="38" y="1478"/>
                      </a:lnTo>
                      <a:lnTo>
                        <a:pt x="51" y="1446"/>
                      </a:lnTo>
                      <a:lnTo>
                        <a:pt x="0" y="144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" name="Freeform 276"/>
                <p:cNvSpPr/>
                <p:nvPr/>
              </p:nvSpPr>
              <p:spPr bwMode="auto">
                <a:xfrm>
                  <a:off x="6624711" y="4996310"/>
                  <a:ext cx="11793" cy="31824"/>
                </a:xfrm>
                <a:custGeom>
                  <a:avLst/>
                  <a:gdLst>
                    <a:gd name="T0" fmla="*/ 0 w 23"/>
                    <a:gd name="T1" fmla="*/ 1 h 69"/>
                    <a:gd name="T2" fmla="*/ 0 w 23"/>
                    <a:gd name="T3" fmla="*/ 0 h 69"/>
                    <a:gd name="T4" fmla="*/ 1 w 23"/>
                    <a:gd name="T5" fmla="*/ 2 h 69"/>
                    <a:gd name="T6" fmla="*/ 0 w 23"/>
                    <a:gd name="T7" fmla="*/ 1 h 6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3"/>
                    <a:gd name="T13" fmla="*/ 0 h 69"/>
                    <a:gd name="T14" fmla="*/ 23 w 23"/>
                    <a:gd name="T15" fmla="*/ 69 h 6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3" h="69">
                      <a:moveTo>
                        <a:pt x="0" y="31"/>
                      </a:moveTo>
                      <a:lnTo>
                        <a:pt x="7" y="0"/>
                      </a:lnTo>
                      <a:lnTo>
                        <a:pt x="23" y="69"/>
                      </a:lnTo>
                      <a:lnTo>
                        <a:pt x="0" y="3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5" name="Freeform 277"/>
                <p:cNvSpPr/>
                <p:nvPr/>
              </p:nvSpPr>
              <p:spPr bwMode="auto">
                <a:xfrm>
                  <a:off x="6638189" y="4826054"/>
                  <a:ext cx="10108" cy="38188"/>
                </a:xfrm>
                <a:custGeom>
                  <a:avLst/>
                  <a:gdLst>
                    <a:gd name="T0" fmla="*/ 0 w 23"/>
                    <a:gd name="T1" fmla="*/ 2 h 85"/>
                    <a:gd name="T2" fmla="*/ 1 w 23"/>
                    <a:gd name="T3" fmla="*/ 0 h 85"/>
                    <a:gd name="T4" fmla="*/ 1 w 23"/>
                    <a:gd name="T5" fmla="*/ 2 h 85"/>
                    <a:gd name="T6" fmla="*/ 0 w 23"/>
                    <a:gd name="T7" fmla="*/ 2 h 8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3"/>
                    <a:gd name="T13" fmla="*/ 0 h 85"/>
                    <a:gd name="T14" fmla="*/ 23 w 23"/>
                    <a:gd name="T15" fmla="*/ 85 h 8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3" h="85">
                      <a:moveTo>
                        <a:pt x="0" y="75"/>
                      </a:moveTo>
                      <a:lnTo>
                        <a:pt x="23" y="0"/>
                      </a:lnTo>
                      <a:lnTo>
                        <a:pt x="23" y="85"/>
                      </a:lnTo>
                      <a:lnTo>
                        <a:pt x="0" y="7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" name="Freeform 278"/>
                <p:cNvSpPr/>
                <p:nvPr/>
              </p:nvSpPr>
              <p:spPr bwMode="auto">
                <a:xfrm>
                  <a:off x="6649982" y="5120422"/>
                  <a:ext cx="25271" cy="17503"/>
                </a:xfrm>
                <a:custGeom>
                  <a:avLst/>
                  <a:gdLst>
                    <a:gd name="T0" fmla="*/ 0 w 51"/>
                    <a:gd name="T1" fmla="*/ 0 h 39"/>
                    <a:gd name="T2" fmla="*/ 1 w 51"/>
                    <a:gd name="T3" fmla="*/ 0 h 39"/>
                    <a:gd name="T4" fmla="*/ 1 w 51"/>
                    <a:gd name="T5" fmla="*/ 1 h 39"/>
                    <a:gd name="T6" fmla="*/ 0 w 51"/>
                    <a:gd name="T7" fmla="*/ 0 h 3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1"/>
                    <a:gd name="T13" fmla="*/ 0 h 39"/>
                    <a:gd name="T14" fmla="*/ 51 w 51"/>
                    <a:gd name="T15" fmla="*/ 39 h 3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1" h="39">
                      <a:moveTo>
                        <a:pt x="0" y="0"/>
                      </a:moveTo>
                      <a:lnTo>
                        <a:pt x="49" y="9"/>
                      </a:lnTo>
                      <a:lnTo>
                        <a:pt x="51" y="3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7" name="Freeform 279"/>
                <p:cNvSpPr/>
                <p:nvPr/>
              </p:nvSpPr>
              <p:spPr bwMode="auto">
                <a:xfrm>
                  <a:off x="6655036" y="5082234"/>
                  <a:ext cx="35379" cy="39779"/>
                </a:xfrm>
                <a:custGeom>
                  <a:avLst/>
                  <a:gdLst>
                    <a:gd name="T0" fmla="*/ 0 w 75"/>
                    <a:gd name="T1" fmla="*/ 0 h 88"/>
                    <a:gd name="T2" fmla="*/ 1 w 75"/>
                    <a:gd name="T3" fmla="*/ 0 h 88"/>
                    <a:gd name="T4" fmla="*/ 0 w 75"/>
                    <a:gd name="T5" fmla="*/ 1 h 88"/>
                    <a:gd name="T6" fmla="*/ 2 w 75"/>
                    <a:gd name="T7" fmla="*/ 1 h 88"/>
                    <a:gd name="T8" fmla="*/ 1 w 75"/>
                    <a:gd name="T9" fmla="*/ 2 h 88"/>
                    <a:gd name="T10" fmla="*/ 0 w 75"/>
                    <a:gd name="T11" fmla="*/ 0 h 8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5"/>
                    <a:gd name="T19" fmla="*/ 0 h 88"/>
                    <a:gd name="T20" fmla="*/ 75 w 75"/>
                    <a:gd name="T21" fmla="*/ 88 h 8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5" h="88">
                      <a:moveTo>
                        <a:pt x="0" y="15"/>
                      </a:moveTo>
                      <a:lnTo>
                        <a:pt x="21" y="0"/>
                      </a:lnTo>
                      <a:lnTo>
                        <a:pt x="19" y="42"/>
                      </a:lnTo>
                      <a:lnTo>
                        <a:pt x="75" y="57"/>
                      </a:lnTo>
                      <a:lnTo>
                        <a:pt x="39" y="88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8" name="Freeform 280"/>
                <p:cNvSpPr/>
                <p:nvPr/>
              </p:nvSpPr>
              <p:spPr bwMode="auto">
                <a:xfrm>
                  <a:off x="6681992" y="5133151"/>
                  <a:ext cx="18532" cy="11138"/>
                </a:xfrm>
                <a:custGeom>
                  <a:avLst/>
                  <a:gdLst>
                    <a:gd name="T0" fmla="*/ 0 w 40"/>
                    <a:gd name="T1" fmla="*/ 1 h 23"/>
                    <a:gd name="T2" fmla="*/ 0 w 40"/>
                    <a:gd name="T3" fmla="*/ 0 h 23"/>
                    <a:gd name="T4" fmla="*/ 1 w 40"/>
                    <a:gd name="T5" fmla="*/ 1 h 23"/>
                    <a:gd name="T6" fmla="*/ 0 w 40"/>
                    <a:gd name="T7" fmla="*/ 1 h 2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0"/>
                    <a:gd name="T13" fmla="*/ 0 h 23"/>
                    <a:gd name="T14" fmla="*/ 40 w 40"/>
                    <a:gd name="T15" fmla="*/ 23 h 2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0" h="23">
                      <a:moveTo>
                        <a:pt x="0" y="17"/>
                      </a:moveTo>
                      <a:lnTo>
                        <a:pt x="11" y="0"/>
                      </a:lnTo>
                      <a:lnTo>
                        <a:pt x="40" y="23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9" name="Freeform 281"/>
                <p:cNvSpPr/>
                <p:nvPr/>
              </p:nvSpPr>
              <p:spPr bwMode="auto">
                <a:xfrm>
                  <a:off x="6695470" y="5101328"/>
                  <a:ext cx="50542" cy="58874"/>
                </a:xfrm>
                <a:custGeom>
                  <a:avLst/>
                  <a:gdLst>
                    <a:gd name="T0" fmla="*/ 0 w 104"/>
                    <a:gd name="T1" fmla="*/ 2 h 134"/>
                    <a:gd name="T2" fmla="*/ 0 w 104"/>
                    <a:gd name="T3" fmla="*/ 2 h 134"/>
                    <a:gd name="T4" fmla="*/ 2 w 104"/>
                    <a:gd name="T5" fmla="*/ 2 h 134"/>
                    <a:gd name="T6" fmla="*/ 1 w 104"/>
                    <a:gd name="T7" fmla="*/ 1 h 134"/>
                    <a:gd name="T8" fmla="*/ 2 w 104"/>
                    <a:gd name="T9" fmla="*/ 1 h 134"/>
                    <a:gd name="T10" fmla="*/ 1 w 104"/>
                    <a:gd name="T11" fmla="*/ 1 h 134"/>
                    <a:gd name="T12" fmla="*/ 1 w 104"/>
                    <a:gd name="T13" fmla="*/ 0 h 134"/>
                    <a:gd name="T14" fmla="*/ 2 w 104"/>
                    <a:gd name="T15" fmla="*/ 0 h 134"/>
                    <a:gd name="T16" fmla="*/ 3 w 104"/>
                    <a:gd name="T17" fmla="*/ 3 h 134"/>
                    <a:gd name="T18" fmla="*/ 0 w 104"/>
                    <a:gd name="T19" fmla="*/ 2 h 13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4"/>
                    <a:gd name="T31" fmla="*/ 0 h 134"/>
                    <a:gd name="T32" fmla="*/ 104 w 104"/>
                    <a:gd name="T33" fmla="*/ 134 h 13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4" h="134">
                      <a:moveTo>
                        <a:pt x="0" y="108"/>
                      </a:moveTo>
                      <a:lnTo>
                        <a:pt x="15" y="88"/>
                      </a:lnTo>
                      <a:lnTo>
                        <a:pt x="73" y="100"/>
                      </a:lnTo>
                      <a:lnTo>
                        <a:pt x="47" y="65"/>
                      </a:lnTo>
                      <a:lnTo>
                        <a:pt x="74" y="44"/>
                      </a:lnTo>
                      <a:lnTo>
                        <a:pt x="32" y="40"/>
                      </a:lnTo>
                      <a:lnTo>
                        <a:pt x="32" y="7"/>
                      </a:lnTo>
                      <a:lnTo>
                        <a:pt x="102" y="0"/>
                      </a:lnTo>
                      <a:lnTo>
                        <a:pt x="104" y="134"/>
                      </a:lnTo>
                      <a:lnTo>
                        <a:pt x="0" y="10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0" name="Freeform 282"/>
                <p:cNvSpPr/>
                <p:nvPr/>
              </p:nvSpPr>
              <p:spPr bwMode="auto">
                <a:xfrm>
                  <a:off x="6720741" y="5169749"/>
                  <a:ext cx="37064" cy="12729"/>
                </a:xfrm>
                <a:custGeom>
                  <a:avLst/>
                  <a:gdLst>
                    <a:gd name="T0" fmla="*/ 0 w 78"/>
                    <a:gd name="T1" fmla="*/ 0 h 28"/>
                    <a:gd name="T2" fmla="*/ 2 w 78"/>
                    <a:gd name="T3" fmla="*/ 0 h 28"/>
                    <a:gd name="T4" fmla="*/ 2 w 78"/>
                    <a:gd name="T5" fmla="*/ 1 h 28"/>
                    <a:gd name="T6" fmla="*/ 0 w 78"/>
                    <a:gd name="T7" fmla="*/ 0 h 2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8"/>
                    <a:gd name="T13" fmla="*/ 0 h 28"/>
                    <a:gd name="T14" fmla="*/ 78 w 78"/>
                    <a:gd name="T15" fmla="*/ 28 h 2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8" h="28">
                      <a:moveTo>
                        <a:pt x="0" y="0"/>
                      </a:moveTo>
                      <a:lnTo>
                        <a:pt x="71" y="7"/>
                      </a:lnTo>
                      <a:lnTo>
                        <a:pt x="78" y="2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1" name="Freeform 283"/>
                <p:cNvSpPr/>
                <p:nvPr/>
              </p:nvSpPr>
              <p:spPr bwMode="auto">
                <a:xfrm>
                  <a:off x="6756120" y="5161793"/>
                  <a:ext cx="18532" cy="7956"/>
                </a:xfrm>
                <a:custGeom>
                  <a:avLst/>
                  <a:gdLst>
                    <a:gd name="T0" fmla="*/ 0 w 37"/>
                    <a:gd name="T1" fmla="*/ 0 h 18"/>
                    <a:gd name="T2" fmla="*/ 0 w 37"/>
                    <a:gd name="T3" fmla="*/ 0 h 18"/>
                    <a:gd name="T4" fmla="*/ 1 w 37"/>
                    <a:gd name="T5" fmla="*/ 0 h 18"/>
                    <a:gd name="T6" fmla="*/ 0 w 37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7"/>
                    <a:gd name="T13" fmla="*/ 0 h 18"/>
                    <a:gd name="T14" fmla="*/ 37 w 37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7" h="18">
                      <a:moveTo>
                        <a:pt x="0" y="18"/>
                      </a:moveTo>
                      <a:lnTo>
                        <a:pt x="8" y="0"/>
                      </a:lnTo>
                      <a:lnTo>
                        <a:pt x="37" y="18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2" name="Freeform 284"/>
                <p:cNvSpPr/>
                <p:nvPr/>
              </p:nvSpPr>
              <p:spPr bwMode="auto">
                <a:xfrm>
                  <a:off x="6557322" y="3691544"/>
                  <a:ext cx="219014" cy="330965"/>
                </a:xfrm>
                <a:custGeom>
                  <a:avLst/>
                  <a:gdLst>
                    <a:gd name="T0" fmla="*/ 0 w 459"/>
                    <a:gd name="T1" fmla="*/ 11 h 730"/>
                    <a:gd name="T2" fmla="*/ 1 w 459"/>
                    <a:gd name="T3" fmla="*/ 13 h 730"/>
                    <a:gd name="T4" fmla="*/ 3 w 459"/>
                    <a:gd name="T5" fmla="*/ 13 h 730"/>
                    <a:gd name="T6" fmla="*/ 5 w 459"/>
                    <a:gd name="T7" fmla="*/ 15 h 730"/>
                    <a:gd name="T8" fmla="*/ 7 w 459"/>
                    <a:gd name="T9" fmla="*/ 15 h 730"/>
                    <a:gd name="T10" fmla="*/ 7 w 459"/>
                    <a:gd name="T11" fmla="*/ 17 h 730"/>
                    <a:gd name="T12" fmla="*/ 8 w 459"/>
                    <a:gd name="T13" fmla="*/ 17 h 730"/>
                    <a:gd name="T14" fmla="*/ 8 w 459"/>
                    <a:gd name="T15" fmla="*/ 14 h 730"/>
                    <a:gd name="T16" fmla="*/ 8 w 459"/>
                    <a:gd name="T17" fmla="*/ 12 h 730"/>
                    <a:gd name="T18" fmla="*/ 8 w 459"/>
                    <a:gd name="T19" fmla="*/ 12 h 730"/>
                    <a:gd name="T20" fmla="*/ 8 w 459"/>
                    <a:gd name="T21" fmla="*/ 11 h 730"/>
                    <a:gd name="T22" fmla="*/ 10 w 459"/>
                    <a:gd name="T23" fmla="*/ 11 h 730"/>
                    <a:gd name="T24" fmla="*/ 10 w 459"/>
                    <a:gd name="T25" fmla="*/ 11 h 730"/>
                    <a:gd name="T26" fmla="*/ 10 w 459"/>
                    <a:gd name="T27" fmla="*/ 10 h 730"/>
                    <a:gd name="T28" fmla="*/ 10 w 459"/>
                    <a:gd name="T29" fmla="*/ 6 h 730"/>
                    <a:gd name="T30" fmla="*/ 8 w 459"/>
                    <a:gd name="T31" fmla="*/ 7 h 730"/>
                    <a:gd name="T32" fmla="*/ 8 w 459"/>
                    <a:gd name="T33" fmla="*/ 6 h 730"/>
                    <a:gd name="T34" fmla="*/ 6 w 459"/>
                    <a:gd name="T35" fmla="*/ 5 h 730"/>
                    <a:gd name="T36" fmla="*/ 5 w 459"/>
                    <a:gd name="T37" fmla="*/ 3 h 730"/>
                    <a:gd name="T38" fmla="*/ 7 w 459"/>
                    <a:gd name="T39" fmla="*/ 1 h 730"/>
                    <a:gd name="T40" fmla="*/ 6 w 459"/>
                    <a:gd name="T41" fmla="*/ 0 h 730"/>
                    <a:gd name="T42" fmla="*/ 3 w 459"/>
                    <a:gd name="T43" fmla="*/ 1 h 730"/>
                    <a:gd name="T44" fmla="*/ 2 w 459"/>
                    <a:gd name="T45" fmla="*/ 5 h 730"/>
                    <a:gd name="T46" fmla="*/ 1 w 459"/>
                    <a:gd name="T47" fmla="*/ 4 h 730"/>
                    <a:gd name="T48" fmla="*/ 1 w 459"/>
                    <a:gd name="T49" fmla="*/ 5 h 730"/>
                    <a:gd name="T50" fmla="*/ 1 w 459"/>
                    <a:gd name="T51" fmla="*/ 9 h 730"/>
                    <a:gd name="T52" fmla="*/ 2 w 459"/>
                    <a:gd name="T53" fmla="*/ 9 h 730"/>
                    <a:gd name="T54" fmla="*/ 0 w 459"/>
                    <a:gd name="T55" fmla="*/ 11 h 730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459"/>
                    <a:gd name="T85" fmla="*/ 0 h 730"/>
                    <a:gd name="T86" fmla="*/ 459 w 459"/>
                    <a:gd name="T87" fmla="*/ 730 h 730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459" h="730">
                      <a:moveTo>
                        <a:pt x="0" y="488"/>
                      </a:moveTo>
                      <a:lnTo>
                        <a:pt x="56" y="540"/>
                      </a:lnTo>
                      <a:lnTo>
                        <a:pt x="138" y="552"/>
                      </a:lnTo>
                      <a:lnTo>
                        <a:pt x="220" y="653"/>
                      </a:lnTo>
                      <a:lnTo>
                        <a:pt x="330" y="663"/>
                      </a:lnTo>
                      <a:lnTo>
                        <a:pt x="314" y="713"/>
                      </a:lnTo>
                      <a:lnTo>
                        <a:pt x="342" y="730"/>
                      </a:lnTo>
                      <a:lnTo>
                        <a:pt x="359" y="604"/>
                      </a:lnTo>
                      <a:lnTo>
                        <a:pt x="338" y="525"/>
                      </a:lnTo>
                      <a:lnTo>
                        <a:pt x="375" y="522"/>
                      </a:lnTo>
                      <a:lnTo>
                        <a:pt x="349" y="477"/>
                      </a:lnTo>
                      <a:lnTo>
                        <a:pt x="437" y="461"/>
                      </a:lnTo>
                      <a:lnTo>
                        <a:pt x="459" y="491"/>
                      </a:lnTo>
                      <a:lnTo>
                        <a:pt x="424" y="427"/>
                      </a:lnTo>
                      <a:lnTo>
                        <a:pt x="436" y="274"/>
                      </a:lnTo>
                      <a:lnTo>
                        <a:pt x="362" y="280"/>
                      </a:lnTo>
                      <a:lnTo>
                        <a:pt x="338" y="242"/>
                      </a:lnTo>
                      <a:lnTo>
                        <a:pt x="264" y="231"/>
                      </a:lnTo>
                      <a:lnTo>
                        <a:pt x="216" y="143"/>
                      </a:lnTo>
                      <a:lnTo>
                        <a:pt x="289" y="27"/>
                      </a:lnTo>
                      <a:lnTo>
                        <a:pt x="279" y="0"/>
                      </a:lnTo>
                      <a:lnTo>
                        <a:pt x="148" y="63"/>
                      </a:lnTo>
                      <a:lnTo>
                        <a:pt x="78" y="195"/>
                      </a:lnTo>
                      <a:lnTo>
                        <a:pt x="54" y="165"/>
                      </a:lnTo>
                      <a:lnTo>
                        <a:pt x="39" y="228"/>
                      </a:lnTo>
                      <a:lnTo>
                        <a:pt x="54" y="373"/>
                      </a:lnTo>
                      <a:lnTo>
                        <a:pt x="71" y="373"/>
                      </a:lnTo>
                      <a:lnTo>
                        <a:pt x="0" y="48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3" name="Freeform 285"/>
                <p:cNvSpPr/>
                <p:nvPr/>
              </p:nvSpPr>
              <p:spPr bwMode="auto">
                <a:xfrm>
                  <a:off x="6430968" y="3718594"/>
                  <a:ext cx="57281" cy="54100"/>
                </a:xfrm>
                <a:custGeom>
                  <a:avLst/>
                  <a:gdLst>
                    <a:gd name="T0" fmla="*/ 0 w 118"/>
                    <a:gd name="T1" fmla="*/ 0 h 118"/>
                    <a:gd name="T2" fmla="*/ 0 w 118"/>
                    <a:gd name="T3" fmla="*/ 1 h 118"/>
                    <a:gd name="T4" fmla="*/ 1 w 118"/>
                    <a:gd name="T5" fmla="*/ 1 h 118"/>
                    <a:gd name="T6" fmla="*/ 2 w 118"/>
                    <a:gd name="T7" fmla="*/ 3 h 118"/>
                    <a:gd name="T8" fmla="*/ 3 w 118"/>
                    <a:gd name="T9" fmla="*/ 1 h 118"/>
                    <a:gd name="T10" fmla="*/ 2 w 118"/>
                    <a:gd name="T11" fmla="*/ 0 h 118"/>
                    <a:gd name="T12" fmla="*/ 0 w 118"/>
                    <a:gd name="T13" fmla="*/ 0 h 1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18"/>
                    <a:gd name="T22" fmla="*/ 0 h 118"/>
                    <a:gd name="T23" fmla="*/ 118 w 118"/>
                    <a:gd name="T24" fmla="*/ 118 h 11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18" h="118">
                      <a:moveTo>
                        <a:pt x="0" y="0"/>
                      </a:moveTo>
                      <a:lnTo>
                        <a:pt x="1" y="46"/>
                      </a:lnTo>
                      <a:lnTo>
                        <a:pt x="26" y="39"/>
                      </a:lnTo>
                      <a:lnTo>
                        <a:pt x="100" y="118"/>
                      </a:lnTo>
                      <a:lnTo>
                        <a:pt x="118" y="58"/>
                      </a:lnTo>
                      <a:lnTo>
                        <a:pt x="79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4" name="Freeform 286"/>
                <p:cNvSpPr/>
                <p:nvPr/>
              </p:nvSpPr>
              <p:spPr bwMode="auto">
                <a:xfrm>
                  <a:off x="6444446" y="3470371"/>
                  <a:ext cx="197113" cy="66829"/>
                </a:xfrm>
                <a:custGeom>
                  <a:avLst/>
                  <a:gdLst>
                    <a:gd name="T0" fmla="*/ 0 w 412"/>
                    <a:gd name="T1" fmla="*/ 1 h 149"/>
                    <a:gd name="T2" fmla="*/ 1 w 412"/>
                    <a:gd name="T3" fmla="*/ 0 h 149"/>
                    <a:gd name="T4" fmla="*/ 4 w 412"/>
                    <a:gd name="T5" fmla="*/ 0 h 149"/>
                    <a:gd name="T6" fmla="*/ 9 w 412"/>
                    <a:gd name="T7" fmla="*/ 3 h 149"/>
                    <a:gd name="T8" fmla="*/ 6 w 412"/>
                    <a:gd name="T9" fmla="*/ 3 h 149"/>
                    <a:gd name="T10" fmla="*/ 7 w 412"/>
                    <a:gd name="T11" fmla="*/ 3 h 149"/>
                    <a:gd name="T12" fmla="*/ 5 w 412"/>
                    <a:gd name="T13" fmla="*/ 2 h 149"/>
                    <a:gd name="T14" fmla="*/ 3 w 412"/>
                    <a:gd name="T15" fmla="*/ 1 h 149"/>
                    <a:gd name="T16" fmla="*/ 3 w 412"/>
                    <a:gd name="T17" fmla="*/ 1 h 149"/>
                    <a:gd name="T18" fmla="*/ 0 w 412"/>
                    <a:gd name="T19" fmla="*/ 1 h 149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412"/>
                    <a:gd name="T31" fmla="*/ 0 h 149"/>
                    <a:gd name="T32" fmla="*/ 412 w 412"/>
                    <a:gd name="T33" fmla="*/ 149 h 149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412" h="149">
                      <a:moveTo>
                        <a:pt x="0" y="58"/>
                      </a:moveTo>
                      <a:lnTo>
                        <a:pt x="56" y="7"/>
                      </a:lnTo>
                      <a:lnTo>
                        <a:pt x="161" y="0"/>
                      </a:lnTo>
                      <a:lnTo>
                        <a:pt x="412" y="127"/>
                      </a:lnTo>
                      <a:lnTo>
                        <a:pt x="279" y="149"/>
                      </a:lnTo>
                      <a:lnTo>
                        <a:pt x="301" y="120"/>
                      </a:lnTo>
                      <a:lnTo>
                        <a:pt x="236" y="72"/>
                      </a:lnTo>
                      <a:lnTo>
                        <a:pt x="115" y="43"/>
                      </a:lnTo>
                      <a:lnTo>
                        <a:pt x="119" y="24"/>
                      </a:lnTo>
                      <a:lnTo>
                        <a:pt x="0" y="5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5" name="Freeform 287"/>
                <p:cNvSpPr/>
                <p:nvPr/>
              </p:nvSpPr>
              <p:spPr bwMode="auto">
                <a:xfrm>
                  <a:off x="6687046" y="3537200"/>
                  <a:ext cx="58965" cy="36597"/>
                </a:xfrm>
                <a:custGeom>
                  <a:avLst/>
                  <a:gdLst>
                    <a:gd name="T0" fmla="*/ 0 w 127"/>
                    <a:gd name="T1" fmla="*/ 0 h 82"/>
                    <a:gd name="T2" fmla="*/ 0 w 127"/>
                    <a:gd name="T3" fmla="*/ 2 h 82"/>
                    <a:gd name="T4" fmla="*/ 3 w 127"/>
                    <a:gd name="T5" fmla="*/ 1 h 82"/>
                    <a:gd name="T6" fmla="*/ 2 w 127"/>
                    <a:gd name="T7" fmla="*/ 0 h 82"/>
                    <a:gd name="T8" fmla="*/ 0 w 127"/>
                    <a:gd name="T9" fmla="*/ 0 h 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27"/>
                    <a:gd name="T16" fmla="*/ 0 h 82"/>
                    <a:gd name="T17" fmla="*/ 127 w 127"/>
                    <a:gd name="T18" fmla="*/ 82 h 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27" h="82">
                      <a:moveTo>
                        <a:pt x="0" y="0"/>
                      </a:moveTo>
                      <a:lnTo>
                        <a:pt x="0" y="82"/>
                      </a:lnTo>
                      <a:lnTo>
                        <a:pt x="127" y="58"/>
                      </a:lnTo>
                      <a:lnTo>
                        <a:pt x="72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6" name="Freeform 288"/>
                <p:cNvSpPr/>
                <p:nvPr/>
              </p:nvSpPr>
              <p:spPr bwMode="auto">
                <a:xfrm>
                  <a:off x="6520259" y="3911127"/>
                  <a:ext cx="102768" cy="125703"/>
                </a:xfrm>
                <a:custGeom>
                  <a:avLst/>
                  <a:gdLst>
                    <a:gd name="T0" fmla="*/ 0 w 212"/>
                    <a:gd name="T1" fmla="*/ 3 h 275"/>
                    <a:gd name="T2" fmla="*/ 0 w 212"/>
                    <a:gd name="T3" fmla="*/ 4 h 275"/>
                    <a:gd name="T4" fmla="*/ 1 w 212"/>
                    <a:gd name="T5" fmla="*/ 4 h 275"/>
                    <a:gd name="T6" fmla="*/ 0 w 212"/>
                    <a:gd name="T7" fmla="*/ 5 h 275"/>
                    <a:gd name="T8" fmla="*/ 0 w 212"/>
                    <a:gd name="T9" fmla="*/ 6 h 275"/>
                    <a:gd name="T10" fmla="*/ 1 w 212"/>
                    <a:gd name="T11" fmla="*/ 7 h 275"/>
                    <a:gd name="T12" fmla="*/ 3 w 212"/>
                    <a:gd name="T13" fmla="*/ 5 h 275"/>
                    <a:gd name="T14" fmla="*/ 5 w 212"/>
                    <a:gd name="T15" fmla="*/ 3 h 275"/>
                    <a:gd name="T16" fmla="*/ 5 w 212"/>
                    <a:gd name="T17" fmla="*/ 1 h 275"/>
                    <a:gd name="T18" fmla="*/ 3 w 212"/>
                    <a:gd name="T19" fmla="*/ 1 h 275"/>
                    <a:gd name="T20" fmla="*/ 2 w 212"/>
                    <a:gd name="T21" fmla="*/ 0 h 275"/>
                    <a:gd name="T22" fmla="*/ 1 w 212"/>
                    <a:gd name="T23" fmla="*/ 1 h 275"/>
                    <a:gd name="T24" fmla="*/ 0 w 212"/>
                    <a:gd name="T25" fmla="*/ 3 h 275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12"/>
                    <a:gd name="T40" fmla="*/ 0 h 275"/>
                    <a:gd name="T41" fmla="*/ 212 w 212"/>
                    <a:gd name="T42" fmla="*/ 275 h 275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12" h="275">
                      <a:moveTo>
                        <a:pt x="0" y="106"/>
                      </a:moveTo>
                      <a:lnTo>
                        <a:pt x="1" y="160"/>
                      </a:lnTo>
                      <a:lnTo>
                        <a:pt x="42" y="175"/>
                      </a:lnTo>
                      <a:lnTo>
                        <a:pt x="18" y="215"/>
                      </a:lnTo>
                      <a:lnTo>
                        <a:pt x="12" y="263"/>
                      </a:lnTo>
                      <a:lnTo>
                        <a:pt x="62" y="275"/>
                      </a:lnTo>
                      <a:lnTo>
                        <a:pt x="107" y="196"/>
                      </a:lnTo>
                      <a:lnTo>
                        <a:pt x="194" y="139"/>
                      </a:lnTo>
                      <a:lnTo>
                        <a:pt x="212" y="64"/>
                      </a:lnTo>
                      <a:lnTo>
                        <a:pt x="130" y="52"/>
                      </a:lnTo>
                      <a:lnTo>
                        <a:pt x="74" y="0"/>
                      </a:lnTo>
                      <a:lnTo>
                        <a:pt x="28" y="26"/>
                      </a:lnTo>
                      <a:lnTo>
                        <a:pt x="0" y="106"/>
                      </a:lnTo>
                      <a:close/>
                    </a:path>
                  </a:pathLst>
                </a:custGeom>
                <a:solidFill>
                  <a:srgbClr val="00336C"/>
                </a:solidFill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7" name="Freeform 289"/>
                <p:cNvSpPr/>
                <p:nvPr/>
              </p:nvSpPr>
              <p:spPr bwMode="auto">
                <a:xfrm>
                  <a:off x="6350102" y="3648583"/>
                  <a:ext cx="43803" cy="20685"/>
                </a:xfrm>
                <a:custGeom>
                  <a:avLst/>
                  <a:gdLst>
                    <a:gd name="T0" fmla="*/ 0 w 89"/>
                    <a:gd name="T1" fmla="*/ 1 h 44"/>
                    <a:gd name="T2" fmla="*/ 1 w 89"/>
                    <a:gd name="T3" fmla="*/ 0 h 44"/>
                    <a:gd name="T4" fmla="*/ 2 w 89"/>
                    <a:gd name="T5" fmla="*/ 1 h 44"/>
                    <a:gd name="T6" fmla="*/ 0 w 89"/>
                    <a:gd name="T7" fmla="*/ 1 h 4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9"/>
                    <a:gd name="T13" fmla="*/ 0 h 44"/>
                    <a:gd name="T14" fmla="*/ 89 w 89"/>
                    <a:gd name="T15" fmla="*/ 44 h 4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9" h="44">
                      <a:moveTo>
                        <a:pt x="0" y="32"/>
                      </a:moveTo>
                      <a:lnTo>
                        <a:pt x="27" y="0"/>
                      </a:lnTo>
                      <a:lnTo>
                        <a:pt x="89" y="44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8" name="Freeform 290"/>
                <p:cNvSpPr/>
                <p:nvPr/>
              </p:nvSpPr>
              <p:spPr bwMode="auto">
                <a:xfrm>
                  <a:off x="6885844" y="5064731"/>
                  <a:ext cx="28640" cy="19094"/>
                </a:xfrm>
                <a:custGeom>
                  <a:avLst/>
                  <a:gdLst>
                    <a:gd name="T0" fmla="*/ 0 w 59"/>
                    <a:gd name="T1" fmla="*/ 1 h 41"/>
                    <a:gd name="T2" fmla="*/ 1 w 59"/>
                    <a:gd name="T3" fmla="*/ 1 h 41"/>
                    <a:gd name="T4" fmla="*/ 0 w 59"/>
                    <a:gd name="T5" fmla="*/ 0 h 41"/>
                    <a:gd name="T6" fmla="*/ 1 w 59"/>
                    <a:gd name="T7" fmla="*/ 0 h 41"/>
                    <a:gd name="T8" fmla="*/ 0 w 59"/>
                    <a:gd name="T9" fmla="*/ 1 h 4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59"/>
                    <a:gd name="T16" fmla="*/ 0 h 41"/>
                    <a:gd name="T17" fmla="*/ 59 w 59"/>
                    <a:gd name="T18" fmla="*/ 41 h 4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59" h="41">
                      <a:moveTo>
                        <a:pt x="0" y="41"/>
                      </a:moveTo>
                      <a:lnTo>
                        <a:pt x="32" y="19"/>
                      </a:lnTo>
                      <a:lnTo>
                        <a:pt x="19" y="0"/>
                      </a:lnTo>
                      <a:lnTo>
                        <a:pt x="59" y="6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9" name="Freeform 291"/>
                <p:cNvSpPr/>
                <p:nvPr/>
              </p:nvSpPr>
              <p:spPr bwMode="auto">
                <a:xfrm>
                  <a:off x="6907745" y="5064731"/>
                  <a:ext cx="32010" cy="19094"/>
                </a:xfrm>
                <a:custGeom>
                  <a:avLst/>
                  <a:gdLst>
                    <a:gd name="T0" fmla="*/ 0 w 68"/>
                    <a:gd name="T1" fmla="*/ 1 h 47"/>
                    <a:gd name="T2" fmla="*/ 1 w 68"/>
                    <a:gd name="T3" fmla="*/ 0 h 47"/>
                    <a:gd name="T4" fmla="*/ 1 w 68"/>
                    <a:gd name="T5" fmla="*/ 0 h 47"/>
                    <a:gd name="T6" fmla="*/ 0 w 68"/>
                    <a:gd name="T7" fmla="*/ 1 h 4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8"/>
                    <a:gd name="T13" fmla="*/ 0 h 47"/>
                    <a:gd name="T14" fmla="*/ 68 w 68"/>
                    <a:gd name="T15" fmla="*/ 47 h 4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8" h="47">
                      <a:moveTo>
                        <a:pt x="0" y="47"/>
                      </a:moveTo>
                      <a:lnTo>
                        <a:pt x="34" y="0"/>
                      </a:lnTo>
                      <a:lnTo>
                        <a:pt x="68" y="16"/>
                      </a:lnTo>
                      <a:lnTo>
                        <a:pt x="0" y="4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0" name="Freeform 292"/>
                <p:cNvSpPr/>
                <p:nvPr/>
              </p:nvSpPr>
              <p:spPr bwMode="auto">
                <a:xfrm>
                  <a:off x="7005459" y="3828386"/>
                  <a:ext cx="52226" cy="70012"/>
                </a:xfrm>
                <a:custGeom>
                  <a:avLst/>
                  <a:gdLst>
                    <a:gd name="T0" fmla="*/ 0 w 107"/>
                    <a:gd name="T1" fmla="*/ 3 h 154"/>
                    <a:gd name="T2" fmla="*/ 0 w 107"/>
                    <a:gd name="T3" fmla="*/ 0 h 154"/>
                    <a:gd name="T4" fmla="*/ 3 w 107"/>
                    <a:gd name="T5" fmla="*/ 1 h 154"/>
                    <a:gd name="T6" fmla="*/ 1 w 107"/>
                    <a:gd name="T7" fmla="*/ 4 h 154"/>
                    <a:gd name="T8" fmla="*/ 0 w 107"/>
                    <a:gd name="T9" fmla="*/ 3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07"/>
                    <a:gd name="T16" fmla="*/ 0 h 154"/>
                    <a:gd name="T17" fmla="*/ 107 w 107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07" h="154">
                      <a:moveTo>
                        <a:pt x="0" y="149"/>
                      </a:moveTo>
                      <a:lnTo>
                        <a:pt x="13" y="0"/>
                      </a:lnTo>
                      <a:lnTo>
                        <a:pt x="107" y="67"/>
                      </a:lnTo>
                      <a:lnTo>
                        <a:pt x="52" y="154"/>
                      </a:lnTo>
                      <a:lnTo>
                        <a:pt x="0" y="14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Freeform 293"/>
                <p:cNvSpPr/>
                <p:nvPr/>
              </p:nvSpPr>
              <p:spPr bwMode="auto">
                <a:xfrm>
                  <a:off x="6665145" y="1675522"/>
                  <a:ext cx="1113602" cy="891060"/>
                </a:xfrm>
                <a:custGeom>
                  <a:avLst/>
                  <a:gdLst>
                    <a:gd name="T0" fmla="*/ 6 w 2319"/>
                    <a:gd name="T1" fmla="*/ 11 h 1964"/>
                    <a:gd name="T2" fmla="*/ 7 w 2319"/>
                    <a:gd name="T3" fmla="*/ 9 h 1964"/>
                    <a:gd name="T4" fmla="*/ 5 w 2319"/>
                    <a:gd name="T5" fmla="*/ 8 h 1964"/>
                    <a:gd name="T6" fmla="*/ 10 w 2319"/>
                    <a:gd name="T7" fmla="*/ 4 h 1964"/>
                    <a:gd name="T8" fmla="*/ 15 w 2319"/>
                    <a:gd name="T9" fmla="*/ 3 h 1964"/>
                    <a:gd name="T10" fmla="*/ 20 w 2319"/>
                    <a:gd name="T11" fmla="*/ 5 h 1964"/>
                    <a:gd name="T12" fmla="*/ 19 w 2319"/>
                    <a:gd name="T13" fmla="*/ 3 h 1964"/>
                    <a:gd name="T14" fmla="*/ 25 w 2319"/>
                    <a:gd name="T15" fmla="*/ 4 h 1964"/>
                    <a:gd name="T16" fmla="*/ 29 w 2319"/>
                    <a:gd name="T17" fmla="*/ 3 h 1964"/>
                    <a:gd name="T18" fmla="*/ 24 w 2319"/>
                    <a:gd name="T19" fmla="*/ 1 h 1964"/>
                    <a:gd name="T20" fmla="*/ 29 w 2319"/>
                    <a:gd name="T21" fmla="*/ 2 h 1964"/>
                    <a:gd name="T22" fmla="*/ 29 w 2319"/>
                    <a:gd name="T23" fmla="*/ 0 h 1964"/>
                    <a:gd name="T24" fmla="*/ 40 w 2319"/>
                    <a:gd name="T25" fmla="*/ 1 h 1964"/>
                    <a:gd name="T26" fmla="*/ 41 w 2319"/>
                    <a:gd name="T27" fmla="*/ 1 h 1964"/>
                    <a:gd name="T28" fmla="*/ 45 w 2319"/>
                    <a:gd name="T29" fmla="*/ 3 h 1964"/>
                    <a:gd name="T30" fmla="*/ 34 w 2319"/>
                    <a:gd name="T31" fmla="*/ 4 h 1964"/>
                    <a:gd name="T32" fmla="*/ 40 w 2319"/>
                    <a:gd name="T33" fmla="*/ 5 h 1964"/>
                    <a:gd name="T34" fmla="*/ 46 w 2319"/>
                    <a:gd name="T35" fmla="*/ 5 h 1964"/>
                    <a:gd name="T36" fmla="*/ 51 w 2319"/>
                    <a:gd name="T37" fmla="*/ 4 h 1964"/>
                    <a:gd name="T38" fmla="*/ 46 w 2319"/>
                    <a:gd name="T39" fmla="*/ 7 h 1964"/>
                    <a:gd name="T40" fmla="*/ 49 w 2319"/>
                    <a:gd name="T41" fmla="*/ 9 h 1964"/>
                    <a:gd name="T42" fmla="*/ 46 w 2319"/>
                    <a:gd name="T43" fmla="*/ 11 h 1964"/>
                    <a:gd name="T44" fmla="*/ 46 w 2319"/>
                    <a:gd name="T45" fmla="*/ 14 h 1964"/>
                    <a:gd name="T46" fmla="*/ 45 w 2319"/>
                    <a:gd name="T47" fmla="*/ 15 h 1964"/>
                    <a:gd name="T48" fmla="*/ 47 w 2319"/>
                    <a:gd name="T49" fmla="*/ 17 h 1964"/>
                    <a:gd name="T50" fmla="*/ 45 w 2319"/>
                    <a:gd name="T51" fmla="*/ 19 h 1964"/>
                    <a:gd name="T52" fmla="*/ 46 w 2319"/>
                    <a:gd name="T53" fmla="*/ 20 h 1964"/>
                    <a:gd name="T54" fmla="*/ 46 w 2319"/>
                    <a:gd name="T55" fmla="*/ 22 h 1964"/>
                    <a:gd name="T56" fmla="*/ 41 w 2319"/>
                    <a:gd name="T57" fmla="*/ 23 h 1964"/>
                    <a:gd name="T58" fmla="*/ 42 w 2319"/>
                    <a:gd name="T59" fmla="*/ 25 h 1964"/>
                    <a:gd name="T60" fmla="*/ 45 w 2319"/>
                    <a:gd name="T61" fmla="*/ 26 h 1964"/>
                    <a:gd name="T62" fmla="*/ 44 w 2319"/>
                    <a:gd name="T63" fmla="*/ 28 h 1964"/>
                    <a:gd name="T64" fmla="*/ 40 w 2319"/>
                    <a:gd name="T65" fmla="*/ 26 h 1964"/>
                    <a:gd name="T66" fmla="*/ 41 w 2319"/>
                    <a:gd name="T67" fmla="*/ 29 h 1964"/>
                    <a:gd name="T68" fmla="*/ 41 w 2319"/>
                    <a:gd name="T69" fmla="*/ 32 h 1964"/>
                    <a:gd name="T70" fmla="*/ 36 w 2319"/>
                    <a:gd name="T71" fmla="*/ 33 h 1964"/>
                    <a:gd name="T72" fmla="*/ 32 w 2319"/>
                    <a:gd name="T73" fmla="*/ 36 h 1964"/>
                    <a:gd name="T74" fmla="*/ 31 w 2319"/>
                    <a:gd name="T75" fmla="*/ 36 h 1964"/>
                    <a:gd name="T76" fmla="*/ 28 w 2319"/>
                    <a:gd name="T77" fmla="*/ 38 h 1964"/>
                    <a:gd name="T78" fmla="*/ 28 w 2319"/>
                    <a:gd name="T79" fmla="*/ 40 h 1964"/>
                    <a:gd name="T80" fmla="*/ 28 w 2319"/>
                    <a:gd name="T81" fmla="*/ 41 h 1964"/>
                    <a:gd name="T82" fmla="*/ 26 w 2319"/>
                    <a:gd name="T83" fmla="*/ 45 h 1964"/>
                    <a:gd name="T84" fmla="*/ 22 w 2319"/>
                    <a:gd name="T85" fmla="*/ 44 h 1964"/>
                    <a:gd name="T86" fmla="*/ 21 w 2319"/>
                    <a:gd name="T87" fmla="*/ 43 h 1964"/>
                    <a:gd name="T88" fmla="*/ 19 w 2319"/>
                    <a:gd name="T89" fmla="*/ 39 h 1964"/>
                    <a:gd name="T90" fmla="*/ 19 w 2319"/>
                    <a:gd name="T91" fmla="*/ 37 h 1964"/>
                    <a:gd name="T92" fmla="*/ 18 w 2319"/>
                    <a:gd name="T93" fmla="*/ 33 h 1964"/>
                    <a:gd name="T94" fmla="*/ 18 w 2319"/>
                    <a:gd name="T95" fmla="*/ 32 h 1964"/>
                    <a:gd name="T96" fmla="*/ 18 w 2319"/>
                    <a:gd name="T97" fmla="*/ 29 h 1964"/>
                    <a:gd name="T98" fmla="*/ 20 w 2319"/>
                    <a:gd name="T99" fmla="*/ 28 h 1964"/>
                    <a:gd name="T100" fmla="*/ 19 w 2319"/>
                    <a:gd name="T101" fmla="*/ 27 h 1964"/>
                    <a:gd name="T102" fmla="*/ 17 w 2319"/>
                    <a:gd name="T103" fmla="*/ 27 h 1964"/>
                    <a:gd name="T104" fmla="*/ 15 w 2319"/>
                    <a:gd name="T105" fmla="*/ 25 h 1964"/>
                    <a:gd name="T106" fmla="*/ 14 w 2319"/>
                    <a:gd name="T107" fmla="*/ 21 h 1964"/>
                    <a:gd name="T108" fmla="*/ 11 w 2319"/>
                    <a:gd name="T109" fmla="*/ 17 h 1964"/>
                    <a:gd name="T110" fmla="*/ 6 w 2319"/>
                    <a:gd name="T111" fmla="*/ 18 h 1964"/>
                    <a:gd name="T112" fmla="*/ 1 w 2319"/>
                    <a:gd name="T113" fmla="*/ 15 h 1964"/>
                    <a:gd name="T114" fmla="*/ 6 w 2319"/>
                    <a:gd name="T115" fmla="*/ 14 h 1964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2319"/>
                    <a:gd name="T175" fmla="*/ 0 h 1964"/>
                    <a:gd name="T176" fmla="*/ 2319 w 2319"/>
                    <a:gd name="T177" fmla="*/ 1964 h 1964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2319" h="1964">
                      <a:moveTo>
                        <a:pt x="0" y="551"/>
                      </a:moveTo>
                      <a:lnTo>
                        <a:pt x="13" y="521"/>
                      </a:lnTo>
                      <a:lnTo>
                        <a:pt x="162" y="463"/>
                      </a:lnTo>
                      <a:lnTo>
                        <a:pt x="261" y="463"/>
                      </a:lnTo>
                      <a:lnTo>
                        <a:pt x="315" y="418"/>
                      </a:lnTo>
                      <a:lnTo>
                        <a:pt x="296" y="405"/>
                      </a:lnTo>
                      <a:lnTo>
                        <a:pt x="329" y="390"/>
                      </a:lnTo>
                      <a:lnTo>
                        <a:pt x="302" y="380"/>
                      </a:lnTo>
                      <a:lnTo>
                        <a:pt x="354" y="363"/>
                      </a:lnTo>
                      <a:lnTo>
                        <a:pt x="335" y="346"/>
                      </a:lnTo>
                      <a:lnTo>
                        <a:pt x="267" y="376"/>
                      </a:lnTo>
                      <a:lnTo>
                        <a:pt x="200" y="338"/>
                      </a:lnTo>
                      <a:lnTo>
                        <a:pt x="284" y="317"/>
                      </a:lnTo>
                      <a:lnTo>
                        <a:pt x="332" y="254"/>
                      </a:lnTo>
                      <a:lnTo>
                        <a:pt x="437" y="250"/>
                      </a:lnTo>
                      <a:lnTo>
                        <a:pt x="432" y="185"/>
                      </a:lnTo>
                      <a:lnTo>
                        <a:pt x="507" y="184"/>
                      </a:lnTo>
                      <a:lnTo>
                        <a:pt x="586" y="230"/>
                      </a:lnTo>
                      <a:lnTo>
                        <a:pt x="493" y="168"/>
                      </a:lnTo>
                      <a:lnTo>
                        <a:pt x="669" y="126"/>
                      </a:lnTo>
                      <a:lnTo>
                        <a:pt x="713" y="156"/>
                      </a:lnTo>
                      <a:lnTo>
                        <a:pt x="719" y="214"/>
                      </a:lnTo>
                      <a:lnTo>
                        <a:pt x="740" y="165"/>
                      </a:lnTo>
                      <a:lnTo>
                        <a:pt x="854" y="199"/>
                      </a:lnTo>
                      <a:lnTo>
                        <a:pt x="814" y="172"/>
                      </a:lnTo>
                      <a:lnTo>
                        <a:pt x="868" y="176"/>
                      </a:lnTo>
                      <a:lnTo>
                        <a:pt x="821" y="142"/>
                      </a:lnTo>
                      <a:lnTo>
                        <a:pt x="808" y="115"/>
                      </a:lnTo>
                      <a:lnTo>
                        <a:pt x="832" y="108"/>
                      </a:lnTo>
                      <a:lnTo>
                        <a:pt x="1056" y="192"/>
                      </a:lnTo>
                      <a:lnTo>
                        <a:pt x="1039" y="165"/>
                      </a:lnTo>
                      <a:lnTo>
                        <a:pt x="1086" y="161"/>
                      </a:lnTo>
                      <a:lnTo>
                        <a:pt x="1056" y="137"/>
                      </a:lnTo>
                      <a:lnTo>
                        <a:pt x="1132" y="142"/>
                      </a:lnTo>
                      <a:lnTo>
                        <a:pt x="1012" y="81"/>
                      </a:lnTo>
                      <a:lnTo>
                        <a:pt x="1228" y="115"/>
                      </a:lnTo>
                      <a:lnTo>
                        <a:pt x="1181" y="80"/>
                      </a:lnTo>
                      <a:lnTo>
                        <a:pt x="1054" y="73"/>
                      </a:lnTo>
                      <a:lnTo>
                        <a:pt x="1096" y="71"/>
                      </a:lnTo>
                      <a:lnTo>
                        <a:pt x="1017" y="42"/>
                      </a:lnTo>
                      <a:lnTo>
                        <a:pt x="1110" y="48"/>
                      </a:lnTo>
                      <a:lnTo>
                        <a:pt x="1073" y="35"/>
                      </a:lnTo>
                      <a:lnTo>
                        <a:pt x="1112" y="26"/>
                      </a:lnTo>
                      <a:lnTo>
                        <a:pt x="1272" y="81"/>
                      </a:lnTo>
                      <a:lnTo>
                        <a:pt x="1253" y="61"/>
                      </a:lnTo>
                      <a:lnTo>
                        <a:pt x="1326" y="42"/>
                      </a:lnTo>
                      <a:lnTo>
                        <a:pt x="1264" y="35"/>
                      </a:lnTo>
                      <a:lnTo>
                        <a:pt x="1262" y="8"/>
                      </a:lnTo>
                      <a:lnTo>
                        <a:pt x="1303" y="0"/>
                      </a:lnTo>
                      <a:lnTo>
                        <a:pt x="1732" y="10"/>
                      </a:lnTo>
                      <a:lnTo>
                        <a:pt x="1762" y="25"/>
                      </a:lnTo>
                      <a:lnTo>
                        <a:pt x="1746" y="35"/>
                      </a:lnTo>
                      <a:lnTo>
                        <a:pt x="1462" y="38"/>
                      </a:lnTo>
                      <a:lnTo>
                        <a:pt x="1495" y="54"/>
                      </a:lnTo>
                      <a:lnTo>
                        <a:pt x="1384" y="71"/>
                      </a:lnTo>
                      <a:lnTo>
                        <a:pt x="1789" y="42"/>
                      </a:lnTo>
                      <a:lnTo>
                        <a:pt x="1802" y="68"/>
                      </a:lnTo>
                      <a:lnTo>
                        <a:pt x="1746" y="83"/>
                      </a:lnTo>
                      <a:lnTo>
                        <a:pt x="1842" y="72"/>
                      </a:lnTo>
                      <a:lnTo>
                        <a:pt x="1951" y="104"/>
                      </a:lnTo>
                      <a:lnTo>
                        <a:pt x="1789" y="156"/>
                      </a:lnTo>
                      <a:lnTo>
                        <a:pt x="1529" y="152"/>
                      </a:lnTo>
                      <a:lnTo>
                        <a:pt x="1591" y="161"/>
                      </a:lnTo>
                      <a:lnTo>
                        <a:pt x="1482" y="184"/>
                      </a:lnTo>
                      <a:lnTo>
                        <a:pt x="1482" y="207"/>
                      </a:lnTo>
                      <a:lnTo>
                        <a:pt x="1767" y="168"/>
                      </a:lnTo>
                      <a:lnTo>
                        <a:pt x="1790" y="185"/>
                      </a:lnTo>
                      <a:lnTo>
                        <a:pt x="1732" y="223"/>
                      </a:lnTo>
                      <a:lnTo>
                        <a:pt x="1912" y="161"/>
                      </a:lnTo>
                      <a:lnTo>
                        <a:pt x="1923" y="221"/>
                      </a:lnTo>
                      <a:lnTo>
                        <a:pt x="1833" y="328"/>
                      </a:lnTo>
                      <a:lnTo>
                        <a:pt x="2009" y="204"/>
                      </a:lnTo>
                      <a:lnTo>
                        <a:pt x="2006" y="223"/>
                      </a:lnTo>
                      <a:lnTo>
                        <a:pt x="2090" y="222"/>
                      </a:lnTo>
                      <a:lnTo>
                        <a:pt x="2116" y="184"/>
                      </a:lnTo>
                      <a:lnTo>
                        <a:pt x="2206" y="176"/>
                      </a:lnTo>
                      <a:lnTo>
                        <a:pt x="2319" y="211"/>
                      </a:lnTo>
                      <a:lnTo>
                        <a:pt x="2207" y="265"/>
                      </a:lnTo>
                      <a:lnTo>
                        <a:pt x="2214" y="286"/>
                      </a:lnTo>
                      <a:lnTo>
                        <a:pt x="1963" y="317"/>
                      </a:lnTo>
                      <a:lnTo>
                        <a:pt x="2166" y="319"/>
                      </a:lnTo>
                      <a:lnTo>
                        <a:pt x="2002" y="364"/>
                      </a:lnTo>
                      <a:lnTo>
                        <a:pt x="2013" y="394"/>
                      </a:lnTo>
                      <a:lnTo>
                        <a:pt x="2122" y="364"/>
                      </a:lnTo>
                      <a:lnTo>
                        <a:pt x="2043" y="405"/>
                      </a:lnTo>
                      <a:lnTo>
                        <a:pt x="2033" y="459"/>
                      </a:lnTo>
                      <a:lnTo>
                        <a:pt x="2056" y="445"/>
                      </a:lnTo>
                      <a:lnTo>
                        <a:pt x="1981" y="493"/>
                      </a:lnTo>
                      <a:lnTo>
                        <a:pt x="1954" y="593"/>
                      </a:lnTo>
                      <a:lnTo>
                        <a:pt x="1996" y="571"/>
                      </a:lnTo>
                      <a:lnTo>
                        <a:pt x="2050" y="593"/>
                      </a:lnTo>
                      <a:lnTo>
                        <a:pt x="1998" y="593"/>
                      </a:lnTo>
                      <a:lnTo>
                        <a:pt x="1998" y="622"/>
                      </a:lnTo>
                      <a:lnTo>
                        <a:pt x="2088" y="635"/>
                      </a:lnTo>
                      <a:lnTo>
                        <a:pt x="2090" y="672"/>
                      </a:lnTo>
                      <a:lnTo>
                        <a:pt x="1959" y="664"/>
                      </a:lnTo>
                      <a:lnTo>
                        <a:pt x="1996" y="682"/>
                      </a:lnTo>
                      <a:lnTo>
                        <a:pt x="1919" y="693"/>
                      </a:lnTo>
                      <a:lnTo>
                        <a:pt x="1959" y="732"/>
                      </a:lnTo>
                      <a:lnTo>
                        <a:pt x="2027" y="735"/>
                      </a:lnTo>
                      <a:lnTo>
                        <a:pt x="1986" y="758"/>
                      </a:lnTo>
                      <a:lnTo>
                        <a:pt x="2039" y="779"/>
                      </a:lnTo>
                      <a:lnTo>
                        <a:pt x="2037" y="829"/>
                      </a:lnTo>
                      <a:lnTo>
                        <a:pt x="1941" y="800"/>
                      </a:lnTo>
                      <a:lnTo>
                        <a:pt x="1997" y="827"/>
                      </a:lnTo>
                      <a:lnTo>
                        <a:pt x="1961" y="844"/>
                      </a:lnTo>
                      <a:lnTo>
                        <a:pt x="1996" y="842"/>
                      </a:lnTo>
                      <a:lnTo>
                        <a:pt x="1986" y="874"/>
                      </a:lnTo>
                      <a:lnTo>
                        <a:pt x="2054" y="890"/>
                      </a:lnTo>
                      <a:lnTo>
                        <a:pt x="1947" y="881"/>
                      </a:lnTo>
                      <a:lnTo>
                        <a:pt x="1923" y="900"/>
                      </a:lnTo>
                      <a:lnTo>
                        <a:pt x="2009" y="942"/>
                      </a:lnTo>
                      <a:lnTo>
                        <a:pt x="1997" y="974"/>
                      </a:lnTo>
                      <a:lnTo>
                        <a:pt x="1926" y="994"/>
                      </a:lnTo>
                      <a:lnTo>
                        <a:pt x="1861" y="947"/>
                      </a:lnTo>
                      <a:lnTo>
                        <a:pt x="1758" y="986"/>
                      </a:lnTo>
                      <a:lnTo>
                        <a:pt x="1830" y="1013"/>
                      </a:lnTo>
                      <a:lnTo>
                        <a:pt x="1762" y="1038"/>
                      </a:lnTo>
                      <a:lnTo>
                        <a:pt x="1837" y="1040"/>
                      </a:lnTo>
                      <a:lnTo>
                        <a:pt x="1813" y="1090"/>
                      </a:lnTo>
                      <a:lnTo>
                        <a:pt x="1842" y="1061"/>
                      </a:lnTo>
                      <a:lnTo>
                        <a:pt x="1923" y="1101"/>
                      </a:lnTo>
                      <a:lnTo>
                        <a:pt x="1897" y="1135"/>
                      </a:lnTo>
                      <a:lnTo>
                        <a:pt x="1947" y="1122"/>
                      </a:lnTo>
                      <a:lnTo>
                        <a:pt x="1923" y="1155"/>
                      </a:lnTo>
                      <a:lnTo>
                        <a:pt x="1957" y="1139"/>
                      </a:lnTo>
                      <a:lnTo>
                        <a:pt x="1961" y="1223"/>
                      </a:lnTo>
                      <a:lnTo>
                        <a:pt x="1923" y="1192"/>
                      </a:lnTo>
                      <a:lnTo>
                        <a:pt x="1923" y="1223"/>
                      </a:lnTo>
                      <a:lnTo>
                        <a:pt x="1889" y="1220"/>
                      </a:lnTo>
                      <a:lnTo>
                        <a:pt x="1842" y="1151"/>
                      </a:lnTo>
                      <a:lnTo>
                        <a:pt x="1732" y="1113"/>
                      </a:lnTo>
                      <a:lnTo>
                        <a:pt x="1808" y="1158"/>
                      </a:lnTo>
                      <a:lnTo>
                        <a:pt x="1706" y="1182"/>
                      </a:lnTo>
                      <a:lnTo>
                        <a:pt x="1678" y="1223"/>
                      </a:lnTo>
                      <a:lnTo>
                        <a:pt x="1774" y="1232"/>
                      </a:lnTo>
                      <a:lnTo>
                        <a:pt x="1692" y="1255"/>
                      </a:lnTo>
                      <a:lnTo>
                        <a:pt x="1814" y="1227"/>
                      </a:lnTo>
                      <a:lnTo>
                        <a:pt x="1932" y="1264"/>
                      </a:lnTo>
                      <a:lnTo>
                        <a:pt x="1779" y="1360"/>
                      </a:lnTo>
                      <a:lnTo>
                        <a:pt x="1631" y="1402"/>
                      </a:lnTo>
                      <a:lnTo>
                        <a:pt x="1579" y="1406"/>
                      </a:lnTo>
                      <a:lnTo>
                        <a:pt x="1543" y="1361"/>
                      </a:lnTo>
                      <a:lnTo>
                        <a:pt x="1559" y="1406"/>
                      </a:lnTo>
                      <a:lnTo>
                        <a:pt x="1516" y="1431"/>
                      </a:lnTo>
                      <a:lnTo>
                        <a:pt x="1462" y="1535"/>
                      </a:lnTo>
                      <a:lnTo>
                        <a:pt x="1417" y="1531"/>
                      </a:lnTo>
                      <a:lnTo>
                        <a:pt x="1407" y="1564"/>
                      </a:lnTo>
                      <a:lnTo>
                        <a:pt x="1365" y="1571"/>
                      </a:lnTo>
                      <a:lnTo>
                        <a:pt x="1339" y="1557"/>
                      </a:lnTo>
                      <a:lnTo>
                        <a:pt x="1372" y="1537"/>
                      </a:lnTo>
                      <a:lnTo>
                        <a:pt x="1338" y="1531"/>
                      </a:lnTo>
                      <a:lnTo>
                        <a:pt x="1324" y="1587"/>
                      </a:lnTo>
                      <a:lnTo>
                        <a:pt x="1251" y="1591"/>
                      </a:lnTo>
                      <a:lnTo>
                        <a:pt x="1253" y="1634"/>
                      </a:lnTo>
                      <a:lnTo>
                        <a:pt x="1213" y="1637"/>
                      </a:lnTo>
                      <a:lnTo>
                        <a:pt x="1247" y="1672"/>
                      </a:lnTo>
                      <a:lnTo>
                        <a:pt x="1199" y="1680"/>
                      </a:lnTo>
                      <a:lnTo>
                        <a:pt x="1236" y="1717"/>
                      </a:lnTo>
                      <a:lnTo>
                        <a:pt x="1204" y="1717"/>
                      </a:lnTo>
                      <a:lnTo>
                        <a:pt x="1230" y="1726"/>
                      </a:lnTo>
                      <a:lnTo>
                        <a:pt x="1204" y="1768"/>
                      </a:lnTo>
                      <a:lnTo>
                        <a:pt x="1181" y="1761"/>
                      </a:lnTo>
                      <a:lnTo>
                        <a:pt x="1199" y="1779"/>
                      </a:lnTo>
                      <a:lnTo>
                        <a:pt x="1152" y="1797"/>
                      </a:lnTo>
                      <a:lnTo>
                        <a:pt x="1181" y="1856"/>
                      </a:lnTo>
                      <a:lnTo>
                        <a:pt x="1152" y="1935"/>
                      </a:lnTo>
                      <a:lnTo>
                        <a:pt x="1118" y="1936"/>
                      </a:lnTo>
                      <a:lnTo>
                        <a:pt x="1143" y="1964"/>
                      </a:lnTo>
                      <a:lnTo>
                        <a:pt x="1065" y="1964"/>
                      </a:lnTo>
                      <a:lnTo>
                        <a:pt x="1056" y="1910"/>
                      </a:lnTo>
                      <a:lnTo>
                        <a:pt x="945" y="1918"/>
                      </a:lnTo>
                      <a:lnTo>
                        <a:pt x="973" y="1903"/>
                      </a:lnTo>
                      <a:lnTo>
                        <a:pt x="917" y="1883"/>
                      </a:lnTo>
                      <a:lnTo>
                        <a:pt x="941" y="1874"/>
                      </a:lnTo>
                      <a:lnTo>
                        <a:pt x="901" y="1874"/>
                      </a:lnTo>
                      <a:lnTo>
                        <a:pt x="918" y="1832"/>
                      </a:lnTo>
                      <a:lnTo>
                        <a:pt x="892" y="1840"/>
                      </a:lnTo>
                      <a:lnTo>
                        <a:pt x="821" y="1726"/>
                      </a:lnTo>
                      <a:lnTo>
                        <a:pt x="821" y="1694"/>
                      </a:lnTo>
                      <a:lnTo>
                        <a:pt x="877" y="1656"/>
                      </a:lnTo>
                      <a:lnTo>
                        <a:pt x="854" y="1645"/>
                      </a:lnTo>
                      <a:lnTo>
                        <a:pt x="798" y="1687"/>
                      </a:lnTo>
                      <a:lnTo>
                        <a:pt x="798" y="1602"/>
                      </a:lnTo>
                      <a:lnTo>
                        <a:pt x="747" y="1557"/>
                      </a:lnTo>
                      <a:lnTo>
                        <a:pt x="763" y="1492"/>
                      </a:lnTo>
                      <a:lnTo>
                        <a:pt x="729" y="1466"/>
                      </a:lnTo>
                      <a:lnTo>
                        <a:pt x="774" y="1410"/>
                      </a:lnTo>
                      <a:lnTo>
                        <a:pt x="747" y="1402"/>
                      </a:lnTo>
                      <a:lnTo>
                        <a:pt x="839" y="1402"/>
                      </a:lnTo>
                      <a:lnTo>
                        <a:pt x="830" y="1379"/>
                      </a:lnTo>
                      <a:lnTo>
                        <a:pt x="769" y="1381"/>
                      </a:lnTo>
                      <a:lnTo>
                        <a:pt x="861" y="1331"/>
                      </a:lnTo>
                      <a:lnTo>
                        <a:pt x="839" y="1314"/>
                      </a:lnTo>
                      <a:lnTo>
                        <a:pt x="861" y="1255"/>
                      </a:lnTo>
                      <a:lnTo>
                        <a:pt x="785" y="1254"/>
                      </a:lnTo>
                      <a:lnTo>
                        <a:pt x="703" y="1207"/>
                      </a:lnTo>
                      <a:lnTo>
                        <a:pt x="854" y="1232"/>
                      </a:lnTo>
                      <a:lnTo>
                        <a:pt x="828" y="1211"/>
                      </a:lnTo>
                      <a:lnTo>
                        <a:pt x="854" y="1203"/>
                      </a:lnTo>
                      <a:lnTo>
                        <a:pt x="793" y="1168"/>
                      </a:lnTo>
                      <a:lnTo>
                        <a:pt x="814" y="1151"/>
                      </a:lnTo>
                      <a:lnTo>
                        <a:pt x="782" y="1163"/>
                      </a:lnTo>
                      <a:lnTo>
                        <a:pt x="804" y="1142"/>
                      </a:lnTo>
                      <a:lnTo>
                        <a:pt x="765" y="1145"/>
                      </a:lnTo>
                      <a:lnTo>
                        <a:pt x="808" y="1126"/>
                      </a:lnTo>
                      <a:lnTo>
                        <a:pt x="740" y="1099"/>
                      </a:lnTo>
                      <a:lnTo>
                        <a:pt x="726" y="1142"/>
                      </a:lnTo>
                      <a:lnTo>
                        <a:pt x="669" y="1145"/>
                      </a:lnTo>
                      <a:lnTo>
                        <a:pt x="659" y="1126"/>
                      </a:lnTo>
                      <a:lnTo>
                        <a:pt x="698" y="1099"/>
                      </a:lnTo>
                      <a:lnTo>
                        <a:pt x="667" y="1099"/>
                      </a:lnTo>
                      <a:lnTo>
                        <a:pt x="703" y="1023"/>
                      </a:lnTo>
                      <a:lnTo>
                        <a:pt x="661" y="1011"/>
                      </a:lnTo>
                      <a:lnTo>
                        <a:pt x="680" y="978"/>
                      </a:lnTo>
                      <a:lnTo>
                        <a:pt x="618" y="889"/>
                      </a:lnTo>
                      <a:lnTo>
                        <a:pt x="637" y="888"/>
                      </a:lnTo>
                      <a:lnTo>
                        <a:pt x="554" y="808"/>
                      </a:lnTo>
                      <a:lnTo>
                        <a:pt x="554" y="779"/>
                      </a:lnTo>
                      <a:lnTo>
                        <a:pt x="461" y="741"/>
                      </a:lnTo>
                      <a:lnTo>
                        <a:pt x="376" y="720"/>
                      </a:lnTo>
                      <a:lnTo>
                        <a:pt x="293" y="756"/>
                      </a:lnTo>
                      <a:lnTo>
                        <a:pt x="230" y="732"/>
                      </a:lnTo>
                      <a:lnTo>
                        <a:pt x="254" y="762"/>
                      </a:lnTo>
                      <a:lnTo>
                        <a:pt x="188" y="748"/>
                      </a:lnTo>
                      <a:lnTo>
                        <a:pt x="128" y="718"/>
                      </a:lnTo>
                      <a:lnTo>
                        <a:pt x="188" y="693"/>
                      </a:lnTo>
                      <a:lnTo>
                        <a:pt x="57" y="664"/>
                      </a:lnTo>
                      <a:lnTo>
                        <a:pt x="105" y="639"/>
                      </a:lnTo>
                      <a:lnTo>
                        <a:pt x="261" y="647"/>
                      </a:lnTo>
                      <a:lnTo>
                        <a:pt x="275" y="637"/>
                      </a:lnTo>
                      <a:lnTo>
                        <a:pt x="251" y="620"/>
                      </a:lnTo>
                      <a:lnTo>
                        <a:pt x="274" y="605"/>
                      </a:lnTo>
                      <a:lnTo>
                        <a:pt x="138" y="616"/>
                      </a:lnTo>
                      <a:lnTo>
                        <a:pt x="0" y="55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2" name="Freeform 294"/>
                <p:cNvSpPr/>
                <p:nvPr/>
              </p:nvSpPr>
              <p:spPr bwMode="auto">
                <a:xfrm>
                  <a:off x="6309668" y="3576980"/>
                  <a:ext cx="72443" cy="87515"/>
                </a:xfrm>
                <a:custGeom>
                  <a:avLst/>
                  <a:gdLst>
                    <a:gd name="T0" fmla="*/ 0 w 154"/>
                    <a:gd name="T1" fmla="*/ 4 h 190"/>
                    <a:gd name="T2" fmla="*/ 1 w 154"/>
                    <a:gd name="T3" fmla="*/ 2 h 190"/>
                    <a:gd name="T4" fmla="*/ 2 w 154"/>
                    <a:gd name="T5" fmla="*/ 2 h 190"/>
                    <a:gd name="T6" fmla="*/ 1 w 154"/>
                    <a:gd name="T7" fmla="*/ 1 h 190"/>
                    <a:gd name="T8" fmla="*/ 3 w 154"/>
                    <a:gd name="T9" fmla="*/ 0 h 190"/>
                    <a:gd name="T10" fmla="*/ 3 w 154"/>
                    <a:gd name="T11" fmla="*/ 2 h 190"/>
                    <a:gd name="T12" fmla="*/ 3 w 154"/>
                    <a:gd name="T13" fmla="*/ 2 h 190"/>
                    <a:gd name="T14" fmla="*/ 3 w 154"/>
                    <a:gd name="T15" fmla="*/ 4 h 190"/>
                    <a:gd name="T16" fmla="*/ 2 w 154"/>
                    <a:gd name="T17" fmla="*/ 5 h 190"/>
                    <a:gd name="T18" fmla="*/ 0 w 154"/>
                    <a:gd name="T19" fmla="*/ 4 h 19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54"/>
                    <a:gd name="T31" fmla="*/ 0 h 190"/>
                    <a:gd name="T32" fmla="*/ 154 w 154"/>
                    <a:gd name="T33" fmla="*/ 190 h 19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54" h="190">
                      <a:moveTo>
                        <a:pt x="0" y="154"/>
                      </a:moveTo>
                      <a:lnTo>
                        <a:pt x="35" y="83"/>
                      </a:lnTo>
                      <a:lnTo>
                        <a:pt x="74" y="82"/>
                      </a:lnTo>
                      <a:lnTo>
                        <a:pt x="33" y="24"/>
                      </a:lnTo>
                      <a:lnTo>
                        <a:pt x="123" y="0"/>
                      </a:lnTo>
                      <a:lnTo>
                        <a:pt x="134" y="90"/>
                      </a:lnTo>
                      <a:lnTo>
                        <a:pt x="154" y="98"/>
                      </a:lnTo>
                      <a:lnTo>
                        <a:pt x="114" y="158"/>
                      </a:lnTo>
                      <a:lnTo>
                        <a:pt x="87" y="190"/>
                      </a:lnTo>
                      <a:lnTo>
                        <a:pt x="0" y="154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3" name="Freeform 295"/>
                <p:cNvSpPr/>
                <p:nvPr/>
              </p:nvSpPr>
              <p:spPr bwMode="auto">
                <a:xfrm>
                  <a:off x="6879105" y="3772694"/>
                  <a:ext cx="85921" cy="136841"/>
                </a:xfrm>
                <a:custGeom>
                  <a:avLst/>
                  <a:gdLst>
                    <a:gd name="T0" fmla="*/ 0 w 181"/>
                    <a:gd name="T1" fmla="*/ 2 h 301"/>
                    <a:gd name="T2" fmla="*/ 1 w 181"/>
                    <a:gd name="T3" fmla="*/ 3 h 301"/>
                    <a:gd name="T4" fmla="*/ 1 w 181"/>
                    <a:gd name="T5" fmla="*/ 4 h 301"/>
                    <a:gd name="T6" fmla="*/ 1 w 181"/>
                    <a:gd name="T7" fmla="*/ 6 h 301"/>
                    <a:gd name="T8" fmla="*/ 2 w 181"/>
                    <a:gd name="T9" fmla="*/ 7 h 301"/>
                    <a:gd name="T10" fmla="*/ 4 w 181"/>
                    <a:gd name="T11" fmla="*/ 7 h 301"/>
                    <a:gd name="T12" fmla="*/ 3 w 181"/>
                    <a:gd name="T13" fmla="*/ 4 h 301"/>
                    <a:gd name="T14" fmla="*/ 4 w 181"/>
                    <a:gd name="T15" fmla="*/ 3 h 301"/>
                    <a:gd name="T16" fmla="*/ 1 w 181"/>
                    <a:gd name="T17" fmla="*/ 0 h 301"/>
                    <a:gd name="T18" fmla="*/ 1 w 181"/>
                    <a:gd name="T19" fmla="*/ 1 h 301"/>
                    <a:gd name="T20" fmla="*/ 1 w 181"/>
                    <a:gd name="T21" fmla="*/ 1 h 301"/>
                    <a:gd name="T22" fmla="*/ 0 w 181"/>
                    <a:gd name="T23" fmla="*/ 2 h 301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81"/>
                    <a:gd name="T37" fmla="*/ 0 h 301"/>
                    <a:gd name="T38" fmla="*/ 181 w 181"/>
                    <a:gd name="T39" fmla="*/ 301 h 301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81" h="301">
                      <a:moveTo>
                        <a:pt x="0" y="100"/>
                      </a:moveTo>
                      <a:lnTo>
                        <a:pt x="30" y="140"/>
                      </a:lnTo>
                      <a:lnTo>
                        <a:pt x="59" y="171"/>
                      </a:lnTo>
                      <a:lnTo>
                        <a:pt x="52" y="255"/>
                      </a:lnTo>
                      <a:lnTo>
                        <a:pt x="75" y="301"/>
                      </a:lnTo>
                      <a:lnTo>
                        <a:pt x="181" y="284"/>
                      </a:lnTo>
                      <a:lnTo>
                        <a:pt x="119" y="190"/>
                      </a:lnTo>
                      <a:lnTo>
                        <a:pt x="163" y="111"/>
                      </a:lnTo>
                      <a:lnTo>
                        <a:pt x="53" y="0"/>
                      </a:lnTo>
                      <a:lnTo>
                        <a:pt x="20" y="32"/>
                      </a:lnTo>
                      <a:lnTo>
                        <a:pt x="34" y="61"/>
                      </a:lnTo>
                      <a:lnTo>
                        <a:pt x="0" y="10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4" name="Freeform 296"/>
                <p:cNvSpPr/>
                <p:nvPr/>
              </p:nvSpPr>
              <p:spPr bwMode="auto">
                <a:xfrm>
                  <a:off x="6638189" y="3537200"/>
                  <a:ext cx="48857" cy="36597"/>
                </a:xfrm>
                <a:custGeom>
                  <a:avLst/>
                  <a:gdLst>
                    <a:gd name="T0" fmla="*/ 0 w 99"/>
                    <a:gd name="T1" fmla="*/ 1 h 82"/>
                    <a:gd name="T2" fmla="*/ 2 w 99"/>
                    <a:gd name="T3" fmla="*/ 1 h 82"/>
                    <a:gd name="T4" fmla="*/ 1 w 99"/>
                    <a:gd name="T5" fmla="*/ 0 h 82"/>
                    <a:gd name="T6" fmla="*/ 2 w 99"/>
                    <a:gd name="T7" fmla="*/ 0 h 82"/>
                    <a:gd name="T8" fmla="*/ 2 w 99"/>
                    <a:gd name="T9" fmla="*/ 2 h 82"/>
                    <a:gd name="T10" fmla="*/ 0 w 99"/>
                    <a:gd name="T11" fmla="*/ 1 h 8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99"/>
                    <a:gd name="T19" fmla="*/ 0 h 82"/>
                    <a:gd name="T20" fmla="*/ 99 w 99"/>
                    <a:gd name="T21" fmla="*/ 82 h 8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99" h="82">
                      <a:moveTo>
                        <a:pt x="0" y="63"/>
                      </a:moveTo>
                      <a:lnTo>
                        <a:pt x="74" y="60"/>
                      </a:lnTo>
                      <a:lnTo>
                        <a:pt x="37" y="6"/>
                      </a:lnTo>
                      <a:lnTo>
                        <a:pt x="99" y="0"/>
                      </a:lnTo>
                      <a:lnTo>
                        <a:pt x="99" y="82"/>
                      </a:lnTo>
                      <a:lnTo>
                        <a:pt x="0" y="6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5" name="Freeform 297"/>
                <p:cNvSpPr/>
                <p:nvPr/>
              </p:nvSpPr>
              <p:spPr bwMode="auto">
                <a:xfrm>
                  <a:off x="6363579" y="3618350"/>
                  <a:ext cx="111192" cy="60465"/>
                </a:xfrm>
                <a:custGeom>
                  <a:avLst/>
                  <a:gdLst>
                    <a:gd name="T0" fmla="*/ 0 w 231"/>
                    <a:gd name="T1" fmla="*/ 1 h 133"/>
                    <a:gd name="T2" fmla="*/ 1 w 231"/>
                    <a:gd name="T3" fmla="*/ 0 h 133"/>
                    <a:gd name="T4" fmla="*/ 4 w 231"/>
                    <a:gd name="T5" fmla="*/ 0 h 133"/>
                    <a:gd name="T6" fmla="*/ 5 w 231"/>
                    <a:gd name="T7" fmla="*/ 1 h 133"/>
                    <a:gd name="T8" fmla="*/ 4 w 231"/>
                    <a:gd name="T9" fmla="*/ 1 h 133"/>
                    <a:gd name="T10" fmla="*/ 2 w 231"/>
                    <a:gd name="T11" fmla="*/ 3 h 133"/>
                    <a:gd name="T12" fmla="*/ 1 w 231"/>
                    <a:gd name="T13" fmla="*/ 3 h 133"/>
                    <a:gd name="T14" fmla="*/ 0 w 231"/>
                    <a:gd name="T15" fmla="*/ 1 h 13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31"/>
                    <a:gd name="T25" fmla="*/ 0 h 133"/>
                    <a:gd name="T26" fmla="*/ 231 w 231"/>
                    <a:gd name="T27" fmla="*/ 133 h 13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31" h="133">
                      <a:moveTo>
                        <a:pt x="0" y="68"/>
                      </a:moveTo>
                      <a:lnTo>
                        <a:pt x="40" y="8"/>
                      </a:lnTo>
                      <a:lnTo>
                        <a:pt x="163" y="0"/>
                      </a:lnTo>
                      <a:lnTo>
                        <a:pt x="231" y="42"/>
                      </a:lnTo>
                      <a:lnTo>
                        <a:pt x="176" y="52"/>
                      </a:lnTo>
                      <a:lnTo>
                        <a:pt x="79" y="133"/>
                      </a:lnTo>
                      <a:lnTo>
                        <a:pt x="62" y="112"/>
                      </a:lnTo>
                      <a:lnTo>
                        <a:pt x="0" y="6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" name="Freeform 298"/>
                <p:cNvSpPr/>
                <p:nvPr/>
              </p:nvSpPr>
              <p:spPr bwMode="auto">
                <a:xfrm>
                  <a:off x="7551309" y="2364502"/>
                  <a:ext cx="202167" cy="103427"/>
                </a:xfrm>
                <a:custGeom>
                  <a:avLst/>
                  <a:gdLst>
                    <a:gd name="T0" fmla="*/ 0 w 420"/>
                    <a:gd name="T1" fmla="*/ 2 h 223"/>
                    <a:gd name="T2" fmla="*/ 1 w 420"/>
                    <a:gd name="T3" fmla="*/ 2 h 223"/>
                    <a:gd name="T4" fmla="*/ 0 w 420"/>
                    <a:gd name="T5" fmla="*/ 1 h 223"/>
                    <a:gd name="T6" fmla="*/ 1 w 420"/>
                    <a:gd name="T7" fmla="*/ 1 h 223"/>
                    <a:gd name="T8" fmla="*/ 1 w 420"/>
                    <a:gd name="T9" fmla="*/ 1 h 223"/>
                    <a:gd name="T10" fmla="*/ 2 w 420"/>
                    <a:gd name="T11" fmla="*/ 1 h 223"/>
                    <a:gd name="T12" fmla="*/ 1 w 420"/>
                    <a:gd name="T13" fmla="*/ 0 h 223"/>
                    <a:gd name="T14" fmla="*/ 3 w 420"/>
                    <a:gd name="T15" fmla="*/ 1 h 223"/>
                    <a:gd name="T16" fmla="*/ 3 w 420"/>
                    <a:gd name="T17" fmla="*/ 2 h 223"/>
                    <a:gd name="T18" fmla="*/ 4 w 420"/>
                    <a:gd name="T19" fmla="*/ 1 h 223"/>
                    <a:gd name="T20" fmla="*/ 5 w 420"/>
                    <a:gd name="T21" fmla="*/ 1 h 223"/>
                    <a:gd name="T22" fmla="*/ 5 w 420"/>
                    <a:gd name="T23" fmla="*/ 1 h 223"/>
                    <a:gd name="T24" fmla="*/ 6 w 420"/>
                    <a:gd name="T25" fmla="*/ 1 h 223"/>
                    <a:gd name="T26" fmla="*/ 5 w 420"/>
                    <a:gd name="T27" fmla="*/ 1 h 223"/>
                    <a:gd name="T28" fmla="*/ 7 w 420"/>
                    <a:gd name="T29" fmla="*/ 1 h 223"/>
                    <a:gd name="T30" fmla="*/ 7 w 420"/>
                    <a:gd name="T31" fmla="*/ 0 h 223"/>
                    <a:gd name="T32" fmla="*/ 8 w 420"/>
                    <a:gd name="T33" fmla="*/ 1 h 223"/>
                    <a:gd name="T34" fmla="*/ 9 w 420"/>
                    <a:gd name="T35" fmla="*/ 0 h 223"/>
                    <a:gd name="T36" fmla="*/ 8 w 420"/>
                    <a:gd name="T37" fmla="*/ 1 h 223"/>
                    <a:gd name="T38" fmla="*/ 10 w 420"/>
                    <a:gd name="T39" fmla="*/ 3 h 223"/>
                    <a:gd name="T40" fmla="*/ 9 w 420"/>
                    <a:gd name="T41" fmla="*/ 4 h 223"/>
                    <a:gd name="T42" fmla="*/ 5 w 420"/>
                    <a:gd name="T43" fmla="*/ 6 h 223"/>
                    <a:gd name="T44" fmla="*/ 2 w 420"/>
                    <a:gd name="T45" fmla="*/ 5 h 223"/>
                    <a:gd name="T46" fmla="*/ 3 w 420"/>
                    <a:gd name="T47" fmla="*/ 3 h 223"/>
                    <a:gd name="T48" fmla="*/ 1 w 420"/>
                    <a:gd name="T49" fmla="*/ 3 h 223"/>
                    <a:gd name="T50" fmla="*/ 3 w 420"/>
                    <a:gd name="T51" fmla="*/ 3 h 223"/>
                    <a:gd name="T52" fmla="*/ 2 w 420"/>
                    <a:gd name="T53" fmla="*/ 2 h 223"/>
                    <a:gd name="T54" fmla="*/ 3 w 420"/>
                    <a:gd name="T55" fmla="*/ 2 h 223"/>
                    <a:gd name="T56" fmla="*/ 0 w 420"/>
                    <a:gd name="T57" fmla="*/ 2 h 223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420"/>
                    <a:gd name="T88" fmla="*/ 0 h 223"/>
                    <a:gd name="T89" fmla="*/ 420 w 420"/>
                    <a:gd name="T90" fmla="*/ 223 h 223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420" h="223">
                      <a:moveTo>
                        <a:pt x="0" y="79"/>
                      </a:moveTo>
                      <a:lnTo>
                        <a:pt x="29" y="69"/>
                      </a:lnTo>
                      <a:lnTo>
                        <a:pt x="12" y="50"/>
                      </a:lnTo>
                      <a:lnTo>
                        <a:pt x="47" y="62"/>
                      </a:lnTo>
                      <a:lnTo>
                        <a:pt x="31" y="24"/>
                      </a:lnTo>
                      <a:lnTo>
                        <a:pt x="73" y="46"/>
                      </a:lnTo>
                      <a:lnTo>
                        <a:pt x="52" y="2"/>
                      </a:lnTo>
                      <a:lnTo>
                        <a:pt x="116" y="36"/>
                      </a:lnTo>
                      <a:lnTo>
                        <a:pt x="124" y="94"/>
                      </a:lnTo>
                      <a:lnTo>
                        <a:pt x="159" y="31"/>
                      </a:lnTo>
                      <a:lnTo>
                        <a:pt x="193" y="54"/>
                      </a:lnTo>
                      <a:lnTo>
                        <a:pt x="220" y="23"/>
                      </a:lnTo>
                      <a:lnTo>
                        <a:pt x="245" y="63"/>
                      </a:lnTo>
                      <a:lnTo>
                        <a:pt x="238" y="24"/>
                      </a:lnTo>
                      <a:lnTo>
                        <a:pt x="305" y="24"/>
                      </a:lnTo>
                      <a:lnTo>
                        <a:pt x="316" y="0"/>
                      </a:lnTo>
                      <a:lnTo>
                        <a:pt x="346" y="23"/>
                      </a:lnTo>
                      <a:lnTo>
                        <a:pt x="383" y="14"/>
                      </a:lnTo>
                      <a:lnTo>
                        <a:pt x="356" y="31"/>
                      </a:lnTo>
                      <a:lnTo>
                        <a:pt x="420" y="102"/>
                      </a:lnTo>
                      <a:lnTo>
                        <a:pt x="364" y="165"/>
                      </a:lnTo>
                      <a:lnTo>
                        <a:pt x="209" y="223"/>
                      </a:lnTo>
                      <a:lnTo>
                        <a:pt x="70" y="196"/>
                      </a:lnTo>
                      <a:lnTo>
                        <a:pt x="107" y="139"/>
                      </a:lnTo>
                      <a:lnTo>
                        <a:pt x="23" y="119"/>
                      </a:lnTo>
                      <a:lnTo>
                        <a:pt x="104" y="113"/>
                      </a:lnTo>
                      <a:lnTo>
                        <a:pt x="73" y="97"/>
                      </a:lnTo>
                      <a:lnTo>
                        <a:pt x="105" y="79"/>
                      </a:lnTo>
                      <a:lnTo>
                        <a:pt x="0" y="7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" name="Freeform 299"/>
                <p:cNvSpPr/>
                <p:nvPr/>
              </p:nvSpPr>
              <p:spPr bwMode="auto">
                <a:xfrm>
                  <a:off x="5856478" y="3263518"/>
                  <a:ext cx="552589" cy="385065"/>
                </a:xfrm>
                <a:custGeom>
                  <a:avLst/>
                  <a:gdLst>
                    <a:gd name="T0" fmla="*/ 0 w 1151"/>
                    <a:gd name="T1" fmla="*/ 0 h 847"/>
                    <a:gd name="T2" fmla="*/ 1 w 1151"/>
                    <a:gd name="T3" fmla="*/ 3 h 847"/>
                    <a:gd name="T4" fmla="*/ 3 w 1151"/>
                    <a:gd name="T5" fmla="*/ 5 h 847"/>
                    <a:gd name="T6" fmla="*/ 3 w 1151"/>
                    <a:gd name="T7" fmla="*/ 5 h 847"/>
                    <a:gd name="T8" fmla="*/ 2 w 1151"/>
                    <a:gd name="T9" fmla="*/ 6 h 847"/>
                    <a:gd name="T10" fmla="*/ 3 w 1151"/>
                    <a:gd name="T11" fmla="*/ 7 h 847"/>
                    <a:gd name="T12" fmla="*/ 4 w 1151"/>
                    <a:gd name="T13" fmla="*/ 8 h 847"/>
                    <a:gd name="T14" fmla="*/ 4 w 1151"/>
                    <a:gd name="T15" fmla="*/ 9 h 847"/>
                    <a:gd name="T16" fmla="*/ 6 w 1151"/>
                    <a:gd name="T17" fmla="*/ 11 h 847"/>
                    <a:gd name="T18" fmla="*/ 7 w 1151"/>
                    <a:gd name="T19" fmla="*/ 10 h 847"/>
                    <a:gd name="T20" fmla="*/ 2 w 1151"/>
                    <a:gd name="T21" fmla="*/ 3 h 847"/>
                    <a:gd name="T22" fmla="*/ 2 w 1151"/>
                    <a:gd name="T23" fmla="*/ 1 h 847"/>
                    <a:gd name="T24" fmla="*/ 3 w 1151"/>
                    <a:gd name="T25" fmla="*/ 1 h 847"/>
                    <a:gd name="T26" fmla="*/ 5 w 1151"/>
                    <a:gd name="T27" fmla="*/ 5 h 847"/>
                    <a:gd name="T28" fmla="*/ 7 w 1151"/>
                    <a:gd name="T29" fmla="*/ 7 h 847"/>
                    <a:gd name="T30" fmla="*/ 7 w 1151"/>
                    <a:gd name="T31" fmla="*/ 8 h 847"/>
                    <a:gd name="T32" fmla="*/ 10 w 1151"/>
                    <a:gd name="T33" fmla="*/ 11 h 847"/>
                    <a:gd name="T34" fmla="*/ 11 w 1151"/>
                    <a:gd name="T35" fmla="*/ 13 h 847"/>
                    <a:gd name="T36" fmla="*/ 10 w 1151"/>
                    <a:gd name="T37" fmla="*/ 14 h 847"/>
                    <a:gd name="T38" fmla="*/ 11 w 1151"/>
                    <a:gd name="T39" fmla="*/ 15 h 847"/>
                    <a:gd name="T40" fmla="*/ 17 w 1151"/>
                    <a:gd name="T41" fmla="*/ 18 h 847"/>
                    <a:gd name="T42" fmla="*/ 20 w 1151"/>
                    <a:gd name="T43" fmla="*/ 18 h 847"/>
                    <a:gd name="T44" fmla="*/ 22 w 1151"/>
                    <a:gd name="T45" fmla="*/ 20 h 847"/>
                    <a:gd name="T46" fmla="*/ 23 w 1151"/>
                    <a:gd name="T47" fmla="*/ 18 h 847"/>
                    <a:gd name="T48" fmla="*/ 23 w 1151"/>
                    <a:gd name="T49" fmla="*/ 18 h 847"/>
                    <a:gd name="T50" fmla="*/ 23 w 1151"/>
                    <a:gd name="T51" fmla="*/ 17 h 847"/>
                    <a:gd name="T52" fmla="*/ 25 w 1151"/>
                    <a:gd name="T53" fmla="*/ 16 h 847"/>
                    <a:gd name="T54" fmla="*/ 25 w 1151"/>
                    <a:gd name="T55" fmla="*/ 16 h 847"/>
                    <a:gd name="T56" fmla="*/ 25 w 1151"/>
                    <a:gd name="T57" fmla="*/ 15 h 847"/>
                    <a:gd name="T58" fmla="*/ 26 w 1151"/>
                    <a:gd name="T59" fmla="*/ 16 h 847"/>
                    <a:gd name="T60" fmla="*/ 27 w 1151"/>
                    <a:gd name="T61" fmla="*/ 13 h 847"/>
                    <a:gd name="T62" fmla="*/ 25 w 1151"/>
                    <a:gd name="T63" fmla="*/ 12 h 847"/>
                    <a:gd name="T64" fmla="*/ 24 w 1151"/>
                    <a:gd name="T65" fmla="*/ 13 h 847"/>
                    <a:gd name="T66" fmla="*/ 23 w 1151"/>
                    <a:gd name="T67" fmla="*/ 16 h 847"/>
                    <a:gd name="T68" fmla="*/ 20 w 1151"/>
                    <a:gd name="T69" fmla="*/ 16 h 847"/>
                    <a:gd name="T70" fmla="*/ 19 w 1151"/>
                    <a:gd name="T71" fmla="*/ 15 h 847"/>
                    <a:gd name="T72" fmla="*/ 17 w 1151"/>
                    <a:gd name="T73" fmla="*/ 12 h 847"/>
                    <a:gd name="T74" fmla="*/ 17 w 1151"/>
                    <a:gd name="T75" fmla="*/ 9 h 847"/>
                    <a:gd name="T76" fmla="*/ 18 w 1151"/>
                    <a:gd name="T77" fmla="*/ 8 h 847"/>
                    <a:gd name="T78" fmla="*/ 16 w 1151"/>
                    <a:gd name="T79" fmla="*/ 7 h 847"/>
                    <a:gd name="T80" fmla="*/ 14 w 1151"/>
                    <a:gd name="T81" fmla="*/ 3 h 847"/>
                    <a:gd name="T82" fmla="*/ 12 w 1151"/>
                    <a:gd name="T83" fmla="*/ 4 h 847"/>
                    <a:gd name="T84" fmla="*/ 9 w 1151"/>
                    <a:gd name="T85" fmla="*/ 1 h 847"/>
                    <a:gd name="T86" fmla="*/ 5 w 1151"/>
                    <a:gd name="T87" fmla="*/ 2 h 847"/>
                    <a:gd name="T88" fmla="*/ 2 w 1151"/>
                    <a:gd name="T89" fmla="*/ 0 h 847"/>
                    <a:gd name="T90" fmla="*/ 0 w 1151"/>
                    <a:gd name="T91" fmla="*/ 0 h 847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151"/>
                    <a:gd name="T139" fmla="*/ 0 h 847"/>
                    <a:gd name="T140" fmla="*/ 1151 w 1151"/>
                    <a:gd name="T141" fmla="*/ 847 h 847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151" h="847">
                      <a:moveTo>
                        <a:pt x="0" y="9"/>
                      </a:moveTo>
                      <a:lnTo>
                        <a:pt x="55" y="141"/>
                      </a:lnTo>
                      <a:lnTo>
                        <a:pt x="118" y="202"/>
                      </a:lnTo>
                      <a:lnTo>
                        <a:pt x="112" y="238"/>
                      </a:lnTo>
                      <a:lnTo>
                        <a:pt x="80" y="246"/>
                      </a:lnTo>
                      <a:lnTo>
                        <a:pt x="152" y="275"/>
                      </a:lnTo>
                      <a:lnTo>
                        <a:pt x="191" y="334"/>
                      </a:lnTo>
                      <a:lnTo>
                        <a:pt x="190" y="384"/>
                      </a:lnTo>
                      <a:lnTo>
                        <a:pt x="272" y="468"/>
                      </a:lnTo>
                      <a:lnTo>
                        <a:pt x="289" y="438"/>
                      </a:lnTo>
                      <a:lnTo>
                        <a:pt x="97" y="120"/>
                      </a:lnTo>
                      <a:lnTo>
                        <a:pt x="85" y="35"/>
                      </a:lnTo>
                      <a:lnTo>
                        <a:pt x="128" y="58"/>
                      </a:lnTo>
                      <a:lnTo>
                        <a:pt x="196" y="196"/>
                      </a:lnTo>
                      <a:lnTo>
                        <a:pt x="299" y="300"/>
                      </a:lnTo>
                      <a:lnTo>
                        <a:pt x="297" y="339"/>
                      </a:lnTo>
                      <a:lnTo>
                        <a:pt x="439" y="483"/>
                      </a:lnTo>
                      <a:lnTo>
                        <a:pt x="456" y="542"/>
                      </a:lnTo>
                      <a:lnTo>
                        <a:pt x="439" y="583"/>
                      </a:lnTo>
                      <a:lnTo>
                        <a:pt x="473" y="638"/>
                      </a:lnTo>
                      <a:lnTo>
                        <a:pt x="746" y="785"/>
                      </a:lnTo>
                      <a:lnTo>
                        <a:pt x="863" y="775"/>
                      </a:lnTo>
                      <a:lnTo>
                        <a:pt x="941" y="847"/>
                      </a:lnTo>
                      <a:lnTo>
                        <a:pt x="976" y="776"/>
                      </a:lnTo>
                      <a:lnTo>
                        <a:pt x="1015" y="775"/>
                      </a:lnTo>
                      <a:lnTo>
                        <a:pt x="974" y="717"/>
                      </a:lnTo>
                      <a:lnTo>
                        <a:pt x="1064" y="693"/>
                      </a:lnTo>
                      <a:lnTo>
                        <a:pt x="1095" y="668"/>
                      </a:lnTo>
                      <a:lnTo>
                        <a:pt x="1103" y="653"/>
                      </a:lnTo>
                      <a:lnTo>
                        <a:pt x="1112" y="684"/>
                      </a:lnTo>
                      <a:lnTo>
                        <a:pt x="1151" y="544"/>
                      </a:lnTo>
                      <a:lnTo>
                        <a:pt x="1101" y="522"/>
                      </a:lnTo>
                      <a:lnTo>
                        <a:pt x="1016" y="544"/>
                      </a:lnTo>
                      <a:lnTo>
                        <a:pt x="971" y="668"/>
                      </a:lnTo>
                      <a:lnTo>
                        <a:pt x="857" y="678"/>
                      </a:lnTo>
                      <a:lnTo>
                        <a:pt x="814" y="649"/>
                      </a:lnTo>
                      <a:lnTo>
                        <a:pt x="738" y="498"/>
                      </a:lnTo>
                      <a:lnTo>
                        <a:pt x="737" y="384"/>
                      </a:lnTo>
                      <a:lnTo>
                        <a:pt x="762" y="327"/>
                      </a:lnTo>
                      <a:lnTo>
                        <a:pt x="687" y="300"/>
                      </a:lnTo>
                      <a:lnTo>
                        <a:pt x="588" y="139"/>
                      </a:lnTo>
                      <a:lnTo>
                        <a:pt x="509" y="174"/>
                      </a:lnTo>
                      <a:lnTo>
                        <a:pt x="407" y="43"/>
                      </a:lnTo>
                      <a:lnTo>
                        <a:pt x="233" y="70"/>
                      </a:lnTo>
                      <a:lnTo>
                        <a:pt x="87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rgbClr val="00336C"/>
                </a:solidFill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Freeform 300"/>
                <p:cNvSpPr/>
                <p:nvPr/>
              </p:nvSpPr>
              <p:spPr bwMode="auto">
                <a:xfrm>
                  <a:off x="6400643" y="3637444"/>
                  <a:ext cx="74128" cy="84332"/>
                </a:xfrm>
                <a:custGeom>
                  <a:avLst/>
                  <a:gdLst>
                    <a:gd name="T0" fmla="*/ 0 w 152"/>
                    <a:gd name="T1" fmla="*/ 2 h 184"/>
                    <a:gd name="T2" fmla="*/ 1 w 152"/>
                    <a:gd name="T3" fmla="*/ 4 h 184"/>
                    <a:gd name="T4" fmla="*/ 3 w 152"/>
                    <a:gd name="T5" fmla="*/ 4 h 184"/>
                    <a:gd name="T6" fmla="*/ 4 w 152"/>
                    <a:gd name="T7" fmla="*/ 0 h 184"/>
                    <a:gd name="T8" fmla="*/ 2 w 152"/>
                    <a:gd name="T9" fmla="*/ 0 h 184"/>
                    <a:gd name="T10" fmla="*/ 0 w 152"/>
                    <a:gd name="T11" fmla="*/ 2 h 184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52"/>
                    <a:gd name="T19" fmla="*/ 0 h 184"/>
                    <a:gd name="T20" fmla="*/ 152 w 152"/>
                    <a:gd name="T21" fmla="*/ 184 h 184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52" h="184">
                      <a:moveTo>
                        <a:pt x="0" y="91"/>
                      </a:moveTo>
                      <a:lnTo>
                        <a:pt x="61" y="180"/>
                      </a:lnTo>
                      <a:lnTo>
                        <a:pt x="140" y="184"/>
                      </a:lnTo>
                      <a:lnTo>
                        <a:pt x="152" y="0"/>
                      </a:lnTo>
                      <a:lnTo>
                        <a:pt x="97" y="10"/>
                      </a:lnTo>
                      <a:lnTo>
                        <a:pt x="0" y="9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" name="Freeform 301"/>
                <p:cNvSpPr/>
                <p:nvPr/>
              </p:nvSpPr>
              <p:spPr bwMode="auto">
                <a:xfrm>
                  <a:off x="6478140" y="3745644"/>
                  <a:ext cx="104453" cy="50918"/>
                </a:xfrm>
                <a:custGeom>
                  <a:avLst/>
                  <a:gdLst>
                    <a:gd name="T0" fmla="*/ 0 w 215"/>
                    <a:gd name="T1" fmla="*/ 1 h 111"/>
                    <a:gd name="T2" fmla="*/ 0 w 215"/>
                    <a:gd name="T3" fmla="*/ 0 h 111"/>
                    <a:gd name="T4" fmla="*/ 1 w 215"/>
                    <a:gd name="T5" fmla="*/ 1 h 111"/>
                    <a:gd name="T6" fmla="*/ 3 w 215"/>
                    <a:gd name="T7" fmla="*/ 0 h 111"/>
                    <a:gd name="T8" fmla="*/ 5 w 215"/>
                    <a:gd name="T9" fmla="*/ 1 h 111"/>
                    <a:gd name="T10" fmla="*/ 5 w 215"/>
                    <a:gd name="T11" fmla="*/ 3 h 111"/>
                    <a:gd name="T12" fmla="*/ 5 w 215"/>
                    <a:gd name="T13" fmla="*/ 1 h 111"/>
                    <a:gd name="T14" fmla="*/ 3 w 215"/>
                    <a:gd name="T15" fmla="*/ 1 h 111"/>
                    <a:gd name="T16" fmla="*/ 3 w 215"/>
                    <a:gd name="T17" fmla="*/ 1 h 111"/>
                    <a:gd name="T18" fmla="*/ 3 w 215"/>
                    <a:gd name="T19" fmla="*/ 2 h 111"/>
                    <a:gd name="T20" fmla="*/ 2 w 215"/>
                    <a:gd name="T21" fmla="*/ 3 h 111"/>
                    <a:gd name="T22" fmla="*/ 0 w 215"/>
                    <a:gd name="T23" fmla="*/ 1 h 111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15"/>
                    <a:gd name="T37" fmla="*/ 0 h 111"/>
                    <a:gd name="T38" fmla="*/ 215 w 215"/>
                    <a:gd name="T39" fmla="*/ 111 h 111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15" h="111">
                      <a:moveTo>
                        <a:pt x="0" y="60"/>
                      </a:moveTo>
                      <a:lnTo>
                        <a:pt x="18" y="0"/>
                      </a:lnTo>
                      <a:lnTo>
                        <a:pt x="65" y="37"/>
                      </a:lnTo>
                      <a:lnTo>
                        <a:pt x="146" y="2"/>
                      </a:lnTo>
                      <a:lnTo>
                        <a:pt x="215" y="45"/>
                      </a:lnTo>
                      <a:lnTo>
                        <a:pt x="200" y="108"/>
                      </a:lnTo>
                      <a:lnTo>
                        <a:pt x="193" y="54"/>
                      </a:lnTo>
                      <a:lnTo>
                        <a:pt x="146" y="35"/>
                      </a:lnTo>
                      <a:lnTo>
                        <a:pt x="103" y="66"/>
                      </a:lnTo>
                      <a:lnTo>
                        <a:pt x="115" y="98"/>
                      </a:lnTo>
                      <a:lnTo>
                        <a:pt x="96" y="111"/>
                      </a:lnTo>
                      <a:lnTo>
                        <a:pt x="0" y="6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" name="Freeform 302"/>
                <p:cNvSpPr/>
                <p:nvPr/>
              </p:nvSpPr>
              <p:spPr bwMode="auto">
                <a:xfrm>
                  <a:off x="6855519" y="4328015"/>
                  <a:ext cx="149940" cy="170256"/>
                </a:xfrm>
                <a:custGeom>
                  <a:avLst/>
                  <a:gdLst>
                    <a:gd name="T0" fmla="*/ 0 w 311"/>
                    <a:gd name="T1" fmla="*/ 3 h 377"/>
                    <a:gd name="T2" fmla="*/ 1 w 311"/>
                    <a:gd name="T3" fmla="*/ 1 h 377"/>
                    <a:gd name="T4" fmla="*/ 3 w 311"/>
                    <a:gd name="T5" fmla="*/ 0 h 377"/>
                    <a:gd name="T6" fmla="*/ 4 w 311"/>
                    <a:gd name="T7" fmla="*/ 1 h 377"/>
                    <a:gd name="T8" fmla="*/ 4 w 311"/>
                    <a:gd name="T9" fmla="*/ 3 h 377"/>
                    <a:gd name="T10" fmla="*/ 6 w 311"/>
                    <a:gd name="T11" fmla="*/ 3 h 377"/>
                    <a:gd name="T12" fmla="*/ 6 w 311"/>
                    <a:gd name="T13" fmla="*/ 5 h 377"/>
                    <a:gd name="T14" fmla="*/ 7 w 311"/>
                    <a:gd name="T15" fmla="*/ 5 h 377"/>
                    <a:gd name="T16" fmla="*/ 7 w 311"/>
                    <a:gd name="T17" fmla="*/ 7 h 377"/>
                    <a:gd name="T18" fmla="*/ 6 w 311"/>
                    <a:gd name="T19" fmla="*/ 9 h 377"/>
                    <a:gd name="T20" fmla="*/ 4 w 311"/>
                    <a:gd name="T21" fmla="*/ 9 h 377"/>
                    <a:gd name="T22" fmla="*/ 4 w 311"/>
                    <a:gd name="T23" fmla="*/ 7 h 377"/>
                    <a:gd name="T24" fmla="*/ 0 w 311"/>
                    <a:gd name="T25" fmla="*/ 3 h 37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11"/>
                    <a:gd name="T40" fmla="*/ 0 h 377"/>
                    <a:gd name="T41" fmla="*/ 311 w 311"/>
                    <a:gd name="T42" fmla="*/ 377 h 37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11" h="377">
                      <a:moveTo>
                        <a:pt x="0" y="141"/>
                      </a:moveTo>
                      <a:lnTo>
                        <a:pt x="21" y="23"/>
                      </a:lnTo>
                      <a:lnTo>
                        <a:pt x="134" y="0"/>
                      </a:lnTo>
                      <a:lnTo>
                        <a:pt x="169" y="39"/>
                      </a:lnTo>
                      <a:lnTo>
                        <a:pt x="177" y="130"/>
                      </a:lnTo>
                      <a:lnTo>
                        <a:pt x="260" y="143"/>
                      </a:lnTo>
                      <a:lnTo>
                        <a:pt x="270" y="205"/>
                      </a:lnTo>
                      <a:lnTo>
                        <a:pt x="311" y="218"/>
                      </a:lnTo>
                      <a:lnTo>
                        <a:pt x="305" y="295"/>
                      </a:lnTo>
                      <a:lnTo>
                        <a:pt x="263" y="377"/>
                      </a:lnTo>
                      <a:lnTo>
                        <a:pt x="159" y="371"/>
                      </a:lnTo>
                      <a:lnTo>
                        <a:pt x="180" y="281"/>
                      </a:lnTo>
                      <a:lnTo>
                        <a:pt x="0" y="14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" name="Freeform 303"/>
                <p:cNvSpPr/>
                <p:nvPr/>
              </p:nvSpPr>
              <p:spPr bwMode="auto">
                <a:xfrm>
                  <a:off x="6511835" y="3941359"/>
                  <a:ext cx="227438" cy="364380"/>
                </a:xfrm>
                <a:custGeom>
                  <a:avLst/>
                  <a:gdLst>
                    <a:gd name="T0" fmla="*/ 0 w 476"/>
                    <a:gd name="T1" fmla="*/ 4 h 803"/>
                    <a:gd name="T2" fmla="*/ 0 w 476"/>
                    <a:gd name="T3" fmla="*/ 6 h 803"/>
                    <a:gd name="T4" fmla="*/ 2 w 476"/>
                    <a:gd name="T5" fmla="*/ 9 h 803"/>
                    <a:gd name="T6" fmla="*/ 4 w 476"/>
                    <a:gd name="T7" fmla="*/ 15 h 803"/>
                    <a:gd name="T8" fmla="*/ 9 w 476"/>
                    <a:gd name="T9" fmla="*/ 19 h 803"/>
                    <a:gd name="T10" fmla="*/ 10 w 476"/>
                    <a:gd name="T11" fmla="*/ 18 h 803"/>
                    <a:gd name="T12" fmla="*/ 11 w 476"/>
                    <a:gd name="T13" fmla="*/ 17 h 803"/>
                    <a:gd name="T14" fmla="*/ 10 w 476"/>
                    <a:gd name="T15" fmla="*/ 16 h 803"/>
                    <a:gd name="T16" fmla="*/ 10 w 476"/>
                    <a:gd name="T17" fmla="*/ 16 h 803"/>
                    <a:gd name="T18" fmla="*/ 11 w 476"/>
                    <a:gd name="T19" fmla="*/ 13 h 803"/>
                    <a:gd name="T20" fmla="*/ 10 w 476"/>
                    <a:gd name="T21" fmla="*/ 11 h 803"/>
                    <a:gd name="T22" fmla="*/ 9 w 476"/>
                    <a:gd name="T23" fmla="*/ 11 h 803"/>
                    <a:gd name="T24" fmla="*/ 9 w 476"/>
                    <a:gd name="T25" fmla="*/ 9 h 803"/>
                    <a:gd name="T26" fmla="*/ 9 w 476"/>
                    <a:gd name="T27" fmla="*/ 10 h 803"/>
                    <a:gd name="T28" fmla="*/ 7 w 476"/>
                    <a:gd name="T29" fmla="*/ 9 h 803"/>
                    <a:gd name="T30" fmla="*/ 7 w 476"/>
                    <a:gd name="T31" fmla="*/ 8 h 803"/>
                    <a:gd name="T32" fmla="*/ 8 w 476"/>
                    <a:gd name="T33" fmla="*/ 5 h 803"/>
                    <a:gd name="T34" fmla="*/ 10 w 476"/>
                    <a:gd name="T35" fmla="*/ 4 h 803"/>
                    <a:gd name="T36" fmla="*/ 9 w 476"/>
                    <a:gd name="T37" fmla="*/ 4 h 803"/>
                    <a:gd name="T38" fmla="*/ 10 w 476"/>
                    <a:gd name="T39" fmla="*/ 3 h 803"/>
                    <a:gd name="T40" fmla="*/ 7 w 476"/>
                    <a:gd name="T41" fmla="*/ 2 h 803"/>
                    <a:gd name="T42" fmla="*/ 5 w 476"/>
                    <a:gd name="T43" fmla="*/ 0 h 803"/>
                    <a:gd name="T44" fmla="*/ 5 w 476"/>
                    <a:gd name="T45" fmla="*/ 2 h 803"/>
                    <a:gd name="T46" fmla="*/ 3 w 476"/>
                    <a:gd name="T47" fmla="*/ 3 h 803"/>
                    <a:gd name="T48" fmla="*/ 2 w 476"/>
                    <a:gd name="T49" fmla="*/ 5 h 803"/>
                    <a:gd name="T50" fmla="*/ 1 w 476"/>
                    <a:gd name="T51" fmla="*/ 5 h 803"/>
                    <a:gd name="T52" fmla="*/ 1 w 476"/>
                    <a:gd name="T53" fmla="*/ 3 h 803"/>
                    <a:gd name="T54" fmla="*/ 0 w 476"/>
                    <a:gd name="T55" fmla="*/ 4 h 80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476"/>
                    <a:gd name="T85" fmla="*/ 0 h 803"/>
                    <a:gd name="T86" fmla="*/ 476 w 476"/>
                    <a:gd name="T87" fmla="*/ 803 h 80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476" h="803">
                      <a:moveTo>
                        <a:pt x="0" y="188"/>
                      </a:moveTo>
                      <a:lnTo>
                        <a:pt x="8" y="254"/>
                      </a:lnTo>
                      <a:lnTo>
                        <a:pt x="93" y="364"/>
                      </a:lnTo>
                      <a:lnTo>
                        <a:pt x="188" y="627"/>
                      </a:lnTo>
                      <a:lnTo>
                        <a:pt x="408" y="803"/>
                      </a:lnTo>
                      <a:lnTo>
                        <a:pt x="446" y="771"/>
                      </a:lnTo>
                      <a:lnTo>
                        <a:pt x="468" y="714"/>
                      </a:lnTo>
                      <a:lnTo>
                        <a:pt x="435" y="696"/>
                      </a:lnTo>
                      <a:lnTo>
                        <a:pt x="455" y="681"/>
                      </a:lnTo>
                      <a:lnTo>
                        <a:pt x="476" y="542"/>
                      </a:lnTo>
                      <a:lnTo>
                        <a:pt x="444" y="480"/>
                      </a:lnTo>
                      <a:lnTo>
                        <a:pt x="412" y="480"/>
                      </a:lnTo>
                      <a:lnTo>
                        <a:pt x="412" y="405"/>
                      </a:lnTo>
                      <a:lnTo>
                        <a:pt x="369" y="438"/>
                      </a:lnTo>
                      <a:lnTo>
                        <a:pt x="318" y="410"/>
                      </a:lnTo>
                      <a:lnTo>
                        <a:pt x="287" y="327"/>
                      </a:lnTo>
                      <a:lnTo>
                        <a:pt x="338" y="226"/>
                      </a:lnTo>
                      <a:lnTo>
                        <a:pt x="435" y="178"/>
                      </a:lnTo>
                      <a:lnTo>
                        <a:pt x="407" y="161"/>
                      </a:lnTo>
                      <a:lnTo>
                        <a:pt x="423" y="111"/>
                      </a:lnTo>
                      <a:lnTo>
                        <a:pt x="313" y="101"/>
                      </a:lnTo>
                      <a:lnTo>
                        <a:pt x="231" y="0"/>
                      </a:lnTo>
                      <a:lnTo>
                        <a:pt x="213" y="75"/>
                      </a:lnTo>
                      <a:lnTo>
                        <a:pt x="126" y="132"/>
                      </a:lnTo>
                      <a:lnTo>
                        <a:pt x="81" y="211"/>
                      </a:lnTo>
                      <a:lnTo>
                        <a:pt x="31" y="199"/>
                      </a:lnTo>
                      <a:lnTo>
                        <a:pt x="37" y="151"/>
                      </a:lnTo>
                      <a:lnTo>
                        <a:pt x="0" y="18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" name="Freeform 304"/>
                <p:cNvSpPr/>
                <p:nvPr/>
              </p:nvSpPr>
              <p:spPr bwMode="auto">
                <a:xfrm>
                  <a:off x="6936385" y="3823612"/>
                  <a:ext cx="77497" cy="77968"/>
                </a:xfrm>
                <a:custGeom>
                  <a:avLst/>
                  <a:gdLst>
                    <a:gd name="T0" fmla="*/ 0 w 159"/>
                    <a:gd name="T1" fmla="*/ 2 h 173"/>
                    <a:gd name="T2" fmla="*/ 1 w 159"/>
                    <a:gd name="T3" fmla="*/ 0 h 173"/>
                    <a:gd name="T4" fmla="*/ 4 w 159"/>
                    <a:gd name="T5" fmla="*/ 0 h 173"/>
                    <a:gd name="T6" fmla="*/ 3 w 159"/>
                    <a:gd name="T7" fmla="*/ 4 h 173"/>
                    <a:gd name="T8" fmla="*/ 1 w 159"/>
                    <a:gd name="T9" fmla="*/ 4 h 173"/>
                    <a:gd name="T10" fmla="*/ 0 w 159"/>
                    <a:gd name="T11" fmla="*/ 2 h 17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59"/>
                    <a:gd name="T19" fmla="*/ 0 h 173"/>
                    <a:gd name="T20" fmla="*/ 159 w 159"/>
                    <a:gd name="T21" fmla="*/ 173 h 17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59" h="173">
                      <a:moveTo>
                        <a:pt x="0" y="79"/>
                      </a:moveTo>
                      <a:lnTo>
                        <a:pt x="44" y="0"/>
                      </a:lnTo>
                      <a:lnTo>
                        <a:pt x="159" y="12"/>
                      </a:lnTo>
                      <a:lnTo>
                        <a:pt x="146" y="161"/>
                      </a:lnTo>
                      <a:lnTo>
                        <a:pt x="62" y="173"/>
                      </a:lnTo>
                      <a:lnTo>
                        <a:pt x="0" y="7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" name="Freeform 305"/>
                <p:cNvSpPr/>
                <p:nvPr/>
              </p:nvSpPr>
              <p:spPr bwMode="auto">
                <a:xfrm>
                  <a:off x="6865627" y="3724959"/>
                  <a:ext cx="18532" cy="14321"/>
                </a:xfrm>
                <a:custGeom>
                  <a:avLst/>
                  <a:gdLst>
                    <a:gd name="T0" fmla="*/ 0 w 39"/>
                    <a:gd name="T1" fmla="*/ 1 h 32"/>
                    <a:gd name="T2" fmla="*/ 1 w 39"/>
                    <a:gd name="T3" fmla="*/ 1 h 32"/>
                    <a:gd name="T4" fmla="*/ 1 w 39"/>
                    <a:gd name="T5" fmla="*/ 0 h 32"/>
                    <a:gd name="T6" fmla="*/ 0 w 39"/>
                    <a:gd name="T7" fmla="*/ 1 h 3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9"/>
                    <a:gd name="T13" fmla="*/ 0 h 32"/>
                    <a:gd name="T14" fmla="*/ 39 w 39"/>
                    <a:gd name="T15" fmla="*/ 32 h 3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9" h="32">
                      <a:moveTo>
                        <a:pt x="0" y="32"/>
                      </a:moveTo>
                      <a:lnTo>
                        <a:pt x="36" y="26"/>
                      </a:lnTo>
                      <a:lnTo>
                        <a:pt x="39" y="0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" name="Freeform 306"/>
                <p:cNvSpPr/>
                <p:nvPr/>
              </p:nvSpPr>
              <p:spPr bwMode="auto">
                <a:xfrm>
                  <a:off x="4921456" y="2195837"/>
                  <a:ext cx="545850" cy="521906"/>
                </a:xfrm>
                <a:custGeom>
                  <a:avLst/>
                  <a:gdLst>
                    <a:gd name="T0" fmla="*/ 2 w 1139"/>
                    <a:gd name="T1" fmla="*/ 11 h 1152"/>
                    <a:gd name="T2" fmla="*/ 2 w 1139"/>
                    <a:gd name="T3" fmla="*/ 12 h 1152"/>
                    <a:gd name="T4" fmla="*/ 5 w 1139"/>
                    <a:gd name="T5" fmla="*/ 13 h 1152"/>
                    <a:gd name="T6" fmla="*/ 6 w 1139"/>
                    <a:gd name="T7" fmla="*/ 12 h 1152"/>
                    <a:gd name="T8" fmla="*/ 3 w 1139"/>
                    <a:gd name="T9" fmla="*/ 15 h 1152"/>
                    <a:gd name="T10" fmla="*/ 3 w 1139"/>
                    <a:gd name="T11" fmla="*/ 17 h 1152"/>
                    <a:gd name="T12" fmla="*/ 3 w 1139"/>
                    <a:gd name="T13" fmla="*/ 18 h 1152"/>
                    <a:gd name="T14" fmla="*/ 3 w 1139"/>
                    <a:gd name="T15" fmla="*/ 19 h 1152"/>
                    <a:gd name="T16" fmla="*/ 4 w 1139"/>
                    <a:gd name="T17" fmla="*/ 20 h 1152"/>
                    <a:gd name="T18" fmla="*/ 5 w 1139"/>
                    <a:gd name="T19" fmla="*/ 19 h 1152"/>
                    <a:gd name="T20" fmla="*/ 5 w 1139"/>
                    <a:gd name="T21" fmla="*/ 21 h 1152"/>
                    <a:gd name="T22" fmla="*/ 8 w 1139"/>
                    <a:gd name="T23" fmla="*/ 21 h 1152"/>
                    <a:gd name="T24" fmla="*/ 9 w 1139"/>
                    <a:gd name="T25" fmla="*/ 21 h 1152"/>
                    <a:gd name="T26" fmla="*/ 8 w 1139"/>
                    <a:gd name="T27" fmla="*/ 24 h 1152"/>
                    <a:gd name="T28" fmla="*/ 7 w 1139"/>
                    <a:gd name="T29" fmla="*/ 25 h 1152"/>
                    <a:gd name="T30" fmla="*/ 4 w 1139"/>
                    <a:gd name="T31" fmla="*/ 26 h 1152"/>
                    <a:gd name="T32" fmla="*/ 7 w 1139"/>
                    <a:gd name="T33" fmla="*/ 26 h 1152"/>
                    <a:gd name="T34" fmla="*/ 8 w 1139"/>
                    <a:gd name="T35" fmla="*/ 24 h 1152"/>
                    <a:gd name="T36" fmla="*/ 12 w 1139"/>
                    <a:gd name="T37" fmla="*/ 22 h 1152"/>
                    <a:gd name="T38" fmla="*/ 12 w 1139"/>
                    <a:gd name="T39" fmla="*/ 20 h 1152"/>
                    <a:gd name="T40" fmla="*/ 16 w 1139"/>
                    <a:gd name="T41" fmla="*/ 16 h 1152"/>
                    <a:gd name="T42" fmla="*/ 16 w 1139"/>
                    <a:gd name="T43" fmla="*/ 17 h 1152"/>
                    <a:gd name="T44" fmla="*/ 17 w 1139"/>
                    <a:gd name="T45" fmla="*/ 18 h 1152"/>
                    <a:gd name="T46" fmla="*/ 14 w 1139"/>
                    <a:gd name="T47" fmla="*/ 19 h 1152"/>
                    <a:gd name="T48" fmla="*/ 14 w 1139"/>
                    <a:gd name="T49" fmla="*/ 20 h 1152"/>
                    <a:gd name="T50" fmla="*/ 17 w 1139"/>
                    <a:gd name="T51" fmla="*/ 18 h 1152"/>
                    <a:gd name="T52" fmla="*/ 18 w 1139"/>
                    <a:gd name="T53" fmla="*/ 17 h 1152"/>
                    <a:gd name="T54" fmla="*/ 19 w 1139"/>
                    <a:gd name="T55" fmla="*/ 17 h 1152"/>
                    <a:gd name="T56" fmla="*/ 21 w 1139"/>
                    <a:gd name="T57" fmla="*/ 19 h 1152"/>
                    <a:gd name="T58" fmla="*/ 25 w 1139"/>
                    <a:gd name="T59" fmla="*/ 19 h 1152"/>
                    <a:gd name="T60" fmla="*/ 25 w 1139"/>
                    <a:gd name="T61" fmla="*/ 20 h 1152"/>
                    <a:gd name="T62" fmla="*/ 26 w 1139"/>
                    <a:gd name="T63" fmla="*/ 20 h 1152"/>
                    <a:gd name="T64" fmla="*/ 24 w 1139"/>
                    <a:gd name="T65" fmla="*/ 19 h 1152"/>
                    <a:gd name="T66" fmla="*/ 14 w 1139"/>
                    <a:gd name="T67" fmla="*/ 2 h 1152"/>
                    <a:gd name="T68" fmla="*/ 11 w 1139"/>
                    <a:gd name="T69" fmla="*/ 1 h 1152"/>
                    <a:gd name="T70" fmla="*/ 10 w 1139"/>
                    <a:gd name="T71" fmla="*/ 1 h 1152"/>
                    <a:gd name="T72" fmla="*/ 10 w 1139"/>
                    <a:gd name="T73" fmla="*/ 0 h 1152"/>
                    <a:gd name="T74" fmla="*/ 7 w 1139"/>
                    <a:gd name="T75" fmla="*/ 1 h 1152"/>
                    <a:gd name="T76" fmla="*/ 7 w 1139"/>
                    <a:gd name="T77" fmla="*/ 1 h 1152"/>
                    <a:gd name="T78" fmla="*/ 6 w 1139"/>
                    <a:gd name="T79" fmla="*/ 3 h 1152"/>
                    <a:gd name="T80" fmla="*/ 4 w 1139"/>
                    <a:gd name="T81" fmla="*/ 4 h 1152"/>
                    <a:gd name="T82" fmla="*/ 2 w 1139"/>
                    <a:gd name="T83" fmla="*/ 5 h 1152"/>
                    <a:gd name="T84" fmla="*/ 4 w 1139"/>
                    <a:gd name="T85" fmla="*/ 8 h 1152"/>
                    <a:gd name="T86" fmla="*/ 5 w 1139"/>
                    <a:gd name="T87" fmla="*/ 9 h 1152"/>
                    <a:gd name="T88" fmla="*/ 6 w 1139"/>
                    <a:gd name="T89" fmla="*/ 9 h 1152"/>
                    <a:gd name="T90" fmla="*/ 4 w 1139"/>
                    <a:gd name="T91" fmla="*/ 9 h 1152"/>
                    <a:gd name="T92" fmla="*/ 3 w 1139"/>
                    <a:gd name="T93" fmla="*/ 9 h 1152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w 1139"/>
                    <a:gd name="T142" fmla="*/ 0 h 1152"/>
                    <a:gd name="T143" fmla="*/ 1139 w 1139"/>
                    <a:gd name="T144" fmla="*/ 1152 h 1152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T141" t="T142" r="T143" b="T144"/>
                  <a:pathLst>
                    <a:path w="1139" h="1152">
                      <a:moveTo>
                        <a:pt x="0" y="441"/>
                      </a:moveTo>
                      <a:lnTo>
                        <a:pt x="74" y="463"/>
                      </a:lnTo>
                      <a:lnTo>
                        <a:pt x="45" y="472"/>
                      </a:lnTo>
                      <a:lnTo>
                        <a:pt x="75" y="514"/>
                      </a:lnTo>
                      <a:lnTo>
                        <a:pt x="190" y="510"/>
                      </a:lnTo>
                      <a:lnTo>
                        <a:pt x="205" y="538"/>
                      </a:lnTo>
                      <a:lnTo>
                        <a:pt x="278" y="503"/>
                      </a:lnTo>
                      <a:lnTo>
                        <a:pt x="253" y="517"/>
                      </a:lnTo>
                      <a:lnTo>
                        <a:pt x="267" y="587"/>
                      </a:lnTo>
                      <a:lnTo>
                        <a:pt x="111" y="655"/>
                      </a:lnTo>
                      <a:lnTo>
                        <a:pt x="72" y="729"/>
                      </a:lnTo>
                      <a:lnTo>
                        <a:pt x="107" y="718"/>
                      </a:lnTo>
                      <a:lnTo>
                        <a:pt x="79" y="737"/>
                      </a:lnTo>
                      <a:lnTo>
                        <a:pt x="107" y="761"/>
                      </a:lnTo>
                      <a:lnTo>
                        <a:pt x="165" y="771"/>
                      </a:lnTo>
                      <a:lnTo>
                        <a:pt x="134" y="809"/>
                      </a:lnTo>
                      <a:lnTo>
                        <a:pt x="159" y="847"/>
                      </a:lnTo>
                      <a:lnTo>
                        <a:pt x="190" y="852"/>
                      </a:lnTo>
                      <a:lnTo>
                        <a:pt x="250" y="771"/>
                      </a:lnTo>
                      <a:lnTo>
                        <a:pt x="213" y="809"/>
                      </a:lnTo>
                      <a:lnTo>
                        <a:pt x="244" y="887"/>
                      </a:lnTo>
                      <a:lnTo>
                        <a:pt x="228" y="917"/>
                      </a:lnTo>
                      <a:lnTo>
                        <a:pt x="298" y="872"/>
                      </a:lnTo>
                      <a:lnTo>
                        <a:pt x="346" y="928"/>
                      </a:lnTo>
                      <a:lnTo>
                        <a:pt x="363" y="895"/>
                      </a:lnTo>
                      <a:lnTo>
                        <a:pt x="378" y="917"/>
                      </a:lnTo>
                      <a:lnTo>
                        <a:pt x="431" y="889"/>
                      </a:lnTo>
                      <a:lnTo>
                        <a:pt x="360" y="1032"/>
                      </a:lnTo>
                      <a:lnTo>
                        <a:pt x="299" y="1060"/>
                      </a:lnTo>
                      <a:lnTo>
                        <a:pt x="298" y="1093"/>
                      </a:lnTo>
                      <a:lnTo>
                        <a:pt x="228" y="1094"/>
                      </a:lnTo>
                      <a:lnTo>
                        <a:pt x="176" y="1152"/>
                      </a:lnTo>
                      <a:lnTo>
                        <a:pt x="244" y="1109"/>
                      </a:lnTo>
                      <a:lnTo>
                        <a:pt x="317" y="1110"/>
                      </a:lnTo>
                      <a:lnTo>
                        <a:pt x="360" y="1075"/>
                      </a:lnTo>
                      <a:lnTo>
                        <a:pt x="339" y="1047"/>
                      </a:lnTo>
                      <a:lnTo>
                        <a:pt x="386" y="1051"/>
                      </a:lnTo>
                      <a:lnTo>
                        <a:pt x="528" y="943"/>
                      </a:lnTo>
                      <a:lnTo>
                        <a:pt x="559" y="904"/>
                      </a:lnTo>
                      <a:lnTo>
                        <a:pt x="532" y="871"/>
                      </a:lnTo>
                      <a:lnTo>
                        <a:pt x="660" y="740"/>
                      </a:lnTo>
                      <a:lnTo>
                        <a:pt x="676" y="675"/>
                      </a:lnTo>
                      <a:lnTo>
                        <a:pt x="661" y="740"/>
                      </a:lnTo>
                      <a:lnTo>
                        <a:pt x="715" y="728"/>
                      </a:lnTo>
                      <a:lnTo>
                        <a:pt x="684" y="755"/>
                      </a:lnTo>
                      <a:lnTo>
                        <a:pt x="727" y="767"/>
                      </a:lnTo>
                      <a:lnTo>
                        <a:pt x="635" y="776"/>
                      </a:lnTo>
                      <a:lnTo>
                        <a:pt x="615" y="841"/>
                      </a:lnTo>
                      <a:lnTo>
                        <a:pt x="650" y="837"/>
                      </a:lnTo>
                      <a:lnTo>
                        <a:pt x="618" y="882"/>
                      </a:lnTo>
                      <a:lnTo>
                        <a:pt x="740" y="825"/>
                      </a:lnTo>
                      <a:lnTo>
                        <a:pt x="760" y="790"/>
                      </a:lnTo>
                      <a:lnTo>
                        <a:pt x="739" y="774"/>
                      </a:lnTo>
                      <a:lnTo>
                        <a:pt x="767" y="743"/>
                      </a:lnTo>
                      <a:lnTo>
                        <a:pt x="763" y="767"/>
                      </a:lnTo>
                      <a:lnTo>
                        <a:pt x="823" y="753"/>
                      </a:lnTo>
                      <a:lnTo>
                        <a:pt x="813" y="779"/>
                      </a:lnTo>
                      <a:lnTo>
                        <a:pt x="911" y="825"/>
                      </a:lnTo>
                      <a:lnTo>
                        <a:pt x="1059" y="847"/>
                      </a:lnTo>
                      <a:lnTo>
                        <a:pt x="1083" y="821"/>
                      </a:lnTo>
                      <a:lnTo>
                        <a:pt x="1105" y="835"/>
                      </a:lnTo>
                      <a:lnTo>
                        <a:pt x="1076" y="860"/>
                      </a:lnTo>
                      <a:lnTo>
                        <a:pt x="1120" y="887"/>
                      </a:lnTo>
                      <a:lnTo>
                        <a:pt x="1139" y="866"/>
                      </a:lnTo>
                      <a:lnTo>
                        <a:pt x="1104" y="809"/>
                      </a:lnTo>
                      <a:lnTo>
                        <a:pt x="1032" y="809"/>
                      </a:lnTo>
                      <a:lnTo>
                        <a:pt x="1032" y="132"/>
                      </a:lnTo>
                      <a:lnTo>
                        <a:pt x="621" y="77"/>
                      </a:lnTo>
                      <a:lnTo>
                        <a:pt x="607" y="43"/>
                      </a:lnTo>
                      <a:lnTo>
                        <a:pt x="495" y="22"/>
                      </a:lnTo>
                      <a:lnTo>
                        <a:pt x="481" y="50"/>
                      </a:lnTo>
                      <a:lnTo>
                        <a:pt x="449" y="42"/>
                      </a:lnTo>
                      <a:lnTo>
                        <a:pt x="480" y="17"/>
                      </a:lnTo>
                      <a:lnTo>
                        <a:pt x="433" y="0"/>
                      </a:lnTo>
                      <a:lnTo>
                        <a:pt x="388" y="43"/>
                      </a:lnTo>
                      <a:lnTo>
                        <a:pt x="314" y="50"/>
                      </a:lnTo>
                      <a:lnTo>
                        <a:pt x="307" y="89"/>
                      </a:lnTo>
                      <a:lnTo>
                        <a:pt x="301" y="65"/>
                      </a:lnTo>
                      <a:lnTo>
                        <a:pt x="233" y="88"/>
                      </a:lnTo>
                      <a:lnTo>
                        <a:pt x="244" y="119"/>
                      </a:lnTo>
                      <a:lnTo>
                        <a:pt x="213" y="109"/>
                      </a:lnTo>
                      <a:lnTo>
                        <a:pt x="168" y="176"/>
                      </a:lnTo>
                      <a:lnTo>
                        <a:pt x="72" y="197"/>
                      </a:lnTo>
                      <a:lnTo>
                        <a:pt x="75" y="229"/>
                      </a:lnTo>
                      <a:lnTo>
                        <a:pt x="48" y="235"/>
                      </a:lnTo>
                      <a:lnTo>
                        <a:pt x="165" y="331"/>
                      </a:lnTo>
                      <a:lnTo>
                        <a:pt x="328" y="377"/>
                      </a:lnTo>
                      <a:lnTo>
                        <a:pt x="228" y="364"/>
                      </a:lnTo>
                      <a:lnTo>
                        <a:pt x="233" y="391"/>
                      </a:lnTo>
                      <a:lnTo>
                        <a:pt x="273" y="392"/>
                      </a:lnTo>
                      <a:lnTo>
                        <a:pt x="239" y="411"/>
                      </a:lnTo>
                      <a:lnTo>
                        <a:pt x="165" y="407"/>
                      </a:lnTo>
                      <a:lnTo>
                        <a:pt x="165" y="368"/>
                      </a:lnTo>
                      <a:lnTo>
                        <a:pt x="129" y="372"/>
                      </a:lnTo>
                      <a:lnTo>
                        <a:pt x="0" y="44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" name="Freeform 307"/>
                <p:cNvSpPr/>
                <p:nvPr/>
              </p:nvSpPr>
              <p:spPr bwMode="auto">
                <a:xfrm>
                  <a:off x="5143839" y="3534018"/>
                  <a:ext cx="21901" cy="27050"/>
                </a:xfrm>
                <a:custGeom>
                  <a:avLst/>
                  <a:gdLst>
                    <a:gd name="T0" fmla="*/ 0 w 45"/>
                    <a:gd name="T1" fmla="*/ 1 h 62"/>
                    <a:gd name="T2" fmla="*/ 0 w 45"/>
                    <a:gd name="T3" fmla="*/ 0 h 62"/>
                    <a:gd name="T4" fmla="*/ 1 w 45"/>
                    <a:gd name="T5" fmla="*/ 1 h 62"/>
                    <a:gd name="T6" fmla="*/ 0 w 45"/>
                    <a:gd name="T7" fmla="*/ 1 h 62"/>
                    <a:gd name="T8" fmla="*/ 0 w 45"/>
                    <a:gd name="T9" fmla="*/ 1 h 6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5"/>
                    <a:gd name="T16" fmla="*/ 0 h 62"/>
                    <a:gd name="T17" fmla="*/ 45 w 45"/>
                    <a:gd name="T18" fmla="*/ 62 h 6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5" h="62">
                      <a:moveTo>
                        <a:pt x="0" y="23"/>
                      </a:moveTo>
                      <a:lnTo>
                        <a:pt x="4" y="0"/>
                      </a:lnTo>
                      <a:lnTo>
                        <a:pt x="45" y="38"/>
                      </a:lnTo>
                      <a:lnTo>
                        <a:pt x="14" y="62"/>
                      </a:lnTo>
                      <a:lnTo>
                        <a:pt x="0" y="2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" name="Freeform 308"/>
                <p:cNvSpPr/>
                <p:nvPr/>
              </p:nvSpPr>
              <p:spPr bwMode="auto">
                <a:xfrm>
                  <a:off x="5164056" y="2635002"/>
                  <a:ext cx="47172" cy="30232"/>
                </a:xfrm>
                <a:custGeom>
                  <a:avLst/>
                  <a:gdLst>
                    <a:gd name="T0" fmla="*/ 0 w 100"/>
                    <a:gd name="T1" fmla="*/ 1 h 69"/>
                    <a:gd name="T2" fmla="*/ 1 w 100"/>
                    <a:gd name="T3" fmla="*/ 1 h 69"/>
                    <a:gd name="T4" fmla="*/ 2 w 100"/>
                    <a:gd name="T5" fmla="*/ 0 h 69"/>
                    <a:gd name="T6" fmla="*/ 1 w 100"/>
                    <a:gd name="T7" fmla="*/ 0 h 69"/>
                    <a:gd name="T8" fmla="*/ 1 w 100"/>
                    <a:gd name="T9" fmla="*/ 1 h 69"/>
                    <a:gd name="T10" fmla="*/ 0 w 100"/>
                    <a:gd name="T11" fmla="*/ 1 h 6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00"/>
                    <a:gd name="T19" fmla="*/ 0 h 69"/>
                    <a:gd name="T20" fmla="*/ 100 w 100"/>
                    <a:gd name="T21" fmla="*/ 69 h 6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00" h="69">
                      <a:moveTo>
                        <a:pt x="0" y="28"/>
                      </a:moveTo>
                      <a:lnTo>
                        <a:pt x="28" y="69"/>
                      </a:lnTo>
                      <a:lnTo>
                        <a:pt x="100" y="11"/>
                      </a:lnTo>
                      <a:lnTo>
                        <a:pt x="32" y="0"/>
                      </a:lnTo>
                      <a:lnTo>
                        <a:pt x="41" y="27"/>
                      </a:lnTo>
                      <a:lnTo>
                        <a:pt x="0" y="2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" name="Freeform 309"/>
                <p:cNvSpPr/>
                <p:nvPr/>
              </p:nvSpPr>
              <p:spPr bwMode="auto">
                <a:xfrm>
                  <a:off x="5470676" y="2577720"/>
                  <a:ext cx="146571" cy="143206"/>
                </a:xfrm>
                <a:custGeom>
                  <a:avLst/>
                  <a:gdLst>
                    <a:gd name="T0" fmla="*/ 0 w 306"/>
                    <a:gd name="T1" fmla="*/ 1 h 315"/>
                    <a:gd name="T2" fmla="*/ 0 w 306"/>
                    <a:gd name="T3" fmla="*/ 2 h 315"/>
                    <a:gd name="T4" fmla="*/ 1 w 306"/>
                    <a:gd name="T5" fmla="*/ 2 h 315"/>
                    <a:gd name="T6" fmla="*/ 2 w 306"/>
                    <a:gd name="T7" fmla="*/ 2 h 315"/>
                    <a:gd name="T8" fmla="*/ 1 w 306"/>
                    <a:gd name="T9" fmla="*/ 1 h 315"/>
                    <a:gd name="T10" fmla="*/ 2 w 306"/>
                    <a:gd name="T11" fmla="*/ 1 h 315"/>
                    <a:gd name="T12" fmla="*/ 3 w 306"/>
                    <a:gd name="T13" fmla="*/ 2 h 315"/>
                    <a:gd name="T14" fmla="*/ 2 w 306"/>
                    <a:gd name="T15" fmla="*/ 1 h 315"/>
                    <a:gd name="T16" fmla="*/ 3 w 306"/>
                    <a:gd name="T17" fmla="*/ 2 h 315"/>
                    <a:gd name="T18" fmla="*/ 4 w 306"/>
                    <a:gd name="T19" fmla="*/ 3 h 315"/>
                    <a:gd name="T20" fmla="*/ 4 w 306"/>
                    <a:gd name="T21" fmla="*/ 4 h 315"/>
                    <a:gd name="T22" fmla="*/ 6 w 306"/>
                    <a:gd name="T23" fmla="*/ 5 h 315"/>
                    <a:gd name="T24" fmla="*/ 5 w 306"/>
                    <a:gd name="T25" fmla="*/ 6 h 315"/>
                    <a:gd name="T26" fmla="*/ 6 w 306"/>
                    <a:gd name="T27" fmla="*/ 5 h 315"/>
                    <a:gd name="T28" fmla="*/ 6 w 306"/>
                    <a:gd name="T29" fmla="*/ 7 h 315"/>
                    <a:gd name="T30" fmla="*/ 7 w 306"/>
                    <a:gd name="T31" fmla="*/ 7 h 315"/>
                    <a:gd name="T32" fmla="*/ 7 w 306"/>
                    <a:gd name="T33" fmla="*/ 6 h 315"/>
                    <a:gd name="T34" fmla="*/ 5 w 306"/>
                    <a:gd name="T35" fmla="*/ 5 h 315"/>
                    <a:gd name="T36" fmla="*/ 2 w 306"/>
                    <a:gd name="T37" fmla="*/ 0 h 315"/>
                    <a:gd name="T38" fmla="*/ 1 w 306"/>
                    <a:gd name="T39" fmla="*/ 1 h 315"/>
                    <a:gd name="T40" fmla="*/ 0 w 306"/>
                    <a:gd name="T41" fmla="*/ 1 h 31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306"/>
                    <a:gd name="T64" fmla="*/ 0 h 315"/>
                    <a:gd name="T65" fmla="*/ 306 w 306"/>
                    <a:gd name="T66" fmla="*/ 315 h 31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306" h="315">
                      <a:moveTo>
                        <a:pt x="0" y="30"/>
                      </a:moveTo>
                      <a:lnTo>
                        <a:pt x="15" y="77"/>
                      </a:lnTo>
                      <a:lnTo>
                        <a:pt x="56" y="98"/>
                      </a:lnTo>
                      <a:lnTo>
                        <a:pt x="77" y="83"/>
                      </a:lnTo>
                      <a:lnTo>
                        <a:pt x="38" y="58"/>
                      </a:lnTo>
                      <a:lnTo>
                        <a:pt x="77" y="58"/>
                      </a:lnTo>
                      <a:lnTo>
                        <a:pt x="107" y="99"/>
                      </a:lnTo>
                      <a:lnTo>
                        <a:pt x="96" y="27"/>
                      </a:lnTo>
                      <a:lnTo>
                        <a:pt x="120" y="90"/>
                      </a:lnTo>
                      <a:lnTo>
                        <a:pt x="186" y="125"/>
                      </a:lnTo>
                      <a:lnTo>
                        <a:pt x="174" y="169"/>
                      </a:lnTo>
                      <a:lnTo>
                        <a:pt x="249" y="225"/>
                      </a:lnTo>
                      <a:lnTo>
                        <a:pt x="227" y="269"/>
                      </a:lnTo>
                      <a:lnTo>
                        <a:pt x="265" y="233"/>
                      </a:lnTo>
                      <a:lnTo>
                        <a:pt x="275" y="315"/>
                      </a:lnTo>
                      <a:lnTo>
                        <a:pt x="303" y="302"/>
                      </a:lnTo>
                      <a:lnTo>
                        <a:pt x="306" y="240"/>
                      </a:lnTo>
                      <a:lnTo>
                        <a:pt x="235" y="205"/>
                      </a:lnTo>
                      <a:lnTo>
                        <a:pt x="98" y="0"/>
                      </a:lnTo>
                      <a:lnTo>
                        <a:pt x="23" y="58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" name="Freeform 310"/>
                <p:cNvSpPr/>
                <p:nvPr/>
              </p:nvSpPr>
              <p:spPr bwMode="auto">
                <a:xfrm>
                  <a:off x="5502686" y="2623864"/>
                  <a:ext cx="23586" cy="22276"/>
                </a:xfrm>
                <a:custGeom>
                  <a:avLst/>
                  <a:gdLst>
                    <a:gd name="T0" fmla="*/ 0 w 50"/>
                    <a:gd name="T1" fmla="*/ 0 h 51"/>
                    <a:gd name="T2" fmla="*/ 0 w 50"/>
                    <a:gd name="T3" fmla="*/ 1 h 51"/>
                    <a:gd name="T4" fmla="*/ 0 w 50"/>
                    <a:gd name="T5" fmla="*/ 1 h 51"/>
                    <a:gd name="T6" fmla="*/ 1 w 50"/>
                    <a:gd name="T7" fmla="*/ 1 h 51"/>
                    <a:gd name="T8" fmla="*/ 1 w 50"/>
                    <a:gd name="T9" fmla="*/ 1 h 51"/>
                    <a:gd name="T10" fmla="*/ 1 w 50"/>
                    <a:gd name="T11" fmla="*/ 0 h 51"/>
                    <a:gd name="T12" fmla="*/ 0 w 50"/>
                    <a:gd name="T13" fmla="*/ 0 h 5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50"/>
                    <a:gd name="T22" fmla="*/ 0 h 51"/>
                    <a:gd name="T23" fmla="*/ 50 w 50"/>
                    <a:gd name="T24" fmla="*/ 51 h 5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50" h="51">
                      <a:moveTo>
                        <a:pt x="0" y="0"/>
                      </a:moveTo>
                      <a:lnTo>
                        <a:pt x="13" y="51"/>
                      </a:lnTo>
                      <a:lnTo>
                        <a:pt x="18" y="24"/>
                      </a:lnTo>
                      <a:lnTo>
                        <a:pt x="50" y="46"/>
                      </a:lnTo>
                      <a:lnTo>
                        <a:pt x="21" y="24"/>
                      </a:lnTo>
                      <a:lnTo>
                        <a:pt x="49" y="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" name="Freeform 311"/>
                <p:cNvSpPr/>
                <p:nvPr/>
              </p:nvSpPr>
              <p:spPr bwMode="auto">
                <a:xfrm>
                  <a:off x="5512794" y="2642958"/>
                  <a:ext cx="15163" cy="36597"/>
                </a:xfrm>
                <a:custGeom>
                  <a:avLst/>
                  <a:gdLst>
                    <a:gd name="T0" fmla="*/ 0 w 29"/>
                    <a:gd name="T1" fmla="*/ 0 h 80"/>
                    <a:gd name="T2" fmla="*/ 1 w 29"/>
                    <a:gd name="T3" fmla="*/ 0 h 80"/>
                    <a:gd name="T4" fmla="*/ 1 w 29"/>
                    <a:gd name="T5" fmla="*/ 2 h 80"/>
                    <a:gd name="T6" fmla="*/ 0 w 29"/>
                    <a:gd name="T7" fmla="*/ 0 h 8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9"/>
                    <a:gd name="T13" fmla="*/ 0 h 80"/>
                    <a:gd name="T14" fmla="*/ 29 w 29"/>
                    <a:gd name="T15" fmla="*/ 80 h 8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9" h="80">
                      <a:moveTo>
                        <a:pt x="0" y="0"/>
                      </a:moveTo>
                      <a:lnTo>
                        <a:pt x="28" y="15"/>
                      </a:lnTo>
                      <a:lnTo>
                        <a:pt x="29" y="8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" name="Freeform 312"/>
                <p:cNvSpPr/>
                <p:nvPr/>
              </p:nvSpPr>
              <p:spPr bwMode="auto">
                <a:xfrm>
                  <a:off x="5529641" y="2625455"/>
                  <a:ext cx="18532" cy="20685"/>
                </a:xfrm>
                <a:custGeom>
                  <a:avLst/>
                  <a:gdLst>
                    <a:gd name="T0" fmla="*/ 0 w 39"/>
                    <a:gd name="T1" fmla="*/ 0 h 47"/>
                    <a:gd name="T2" fmla="*/ 0 w 39"/>
                    <a:gd name="T3" fmla="*/ 1 h 47"/>
                    <a:gd name="T4" fmla="*/ 1 w 39"/>
                    <a:gd name="T5" fmla="*/ 1 h 47"/>
                    <a:gd name="T6" fmla="*/ 1 w 39"/>
                    <a:gd name="T7" fmla="*/ 0 h 47"/>
                    <a:gd name="T8" fmla="*/ 1 w 39"/>
                    <a:gd name="T9" fmla="*/ 1 h 47"/>
                    <a:gd name="T10" fmla="*/ 1 w 39"/>
                    <a:gd name="T11" fmla="*/ 0 h 47"/>
                    <a:gd name="T12" fmla="*/ 0 w 39"/>
                    <a:gd name="T13" fmla="*/ 0 h 4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9"/>
                    <a:gd name="T22" fmla="*/ 0 h 47"/>
                    <a:gd name="T23" fmla="*/ 39 w 39"/>
                    <a:gd name="T24" fmla="*/ 47 h 4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9" h="47">
                      <a:moveTo>
                        <a:pt x="0" y="0"/>
                      </a:moveTo>
                      <a:lnTo>
                        <a:pt x="7" y="47"/>
                      </a:lnTo>
                      <a:lnTo>
                        <a:pt x="32" y="47"/>
                      </a:lnTo>
                      <a:lnTo>
                        <a:pt x="22" y="4"/>
                      </a:lnTo>
                      <a:lnTo>
                        <a:pt x="39" y="35"/>
                      </a:lnTo>
                      <a:lnTo>
                        <a:pt x="2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" name="Freeform 313"/>
                <p:cNvSpPr/>
                <p:nvPr/>
              </p:nvSpPr>
              <p:spPr bwMode="auto">
                <a:xfrm>
                  <a:off x="5544804" y="2655688"/>
                  <a:ext cx="16847" cy="17503"/>
                </a:xfrm>
                <a:custGeom>
                  <a:avLst/>
                  <a:gdLst>
                    <a:gd name="T0" fmla="*/ 0 w 34"/>
                    <a:gd name="T1" fmla="*/ 0 h 35"/>
                    <a:gd name="T2" fmla="*/ 1 w 34"/>
                    <a:gd name="T3" fmla="*/ 1 h 35"/>
                    <a:gd name="T4" fmla="*/ 1 w 34"/>
                    <a:gd name="T5" fmla="*/ 0 h 35"/>
                    <a:gd name="T6" fmla="*/ 0 w 34"/>
                    <a:gd name="T7" fmla="*/ 0 h 3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4"/>
                    <a:gd name="T13" fmla="*/ 0 h 35"/>
                    <a:gd name="T14" fmla="*/ 34 w 34"/>
                    <a:gd name="T15" fmla="*/ 35 h 3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4" h="35">
                      <a:moveTo>
                        <a:pt x="0" y="0"/>
                      </a:moveTo>
                      <a:lnTo>
                        <a:pt x="31" y="35"/>
                      </a:lnTo>
                      <a:lnTo>
                        <a:pt x="34" y="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2" name="Freeform 314"/>
                <p:cNvSpPr/>
                <p:nvPr/>
              </p:nvSpPr>
              <p:spPr bwMode="auto">
                <a:xfrm>
                  <a:off x="5549858" y="2677964"/>
                  <a:ext cx="25271" cy="36597"/>
                </a:xfrm>
                <a:custGeom>
                  <a:avLst/>
                  <a:gdLst>
                    <a:gd name="T0" fmla="*/ 0 w 53"/>
                    <a:gd name="T1" fmla="*/ 0 h 81"/>
                    <a:gd name="T2" fmla="*/ 1 w 53"/>
                    <a:gd name="T3" fmla="*/ 1 h 81"/>
                    <a:gd name="T4" fmla="*/ 1 w 53"/>
                    <a:gd name="T5" fmla="*/ 2 h 81"/>
                    <a:gd name="T6" fmla="*/ 0 w 53"/>
                    <a:gd name="T7" fmla="*/ 0 h 81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3"/>
                    <a:gd name="T13" fmla="*/ 0 h 81"/>
                    <a:gd name="T14" fmla="*/ 53 w 53"/>
                    <a:gd name="T15" fmla="*/ 81 h 81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3" h="81">
                      <a:moveTo>
                        <a:pt x="0" y="0"/>
                      </a:moveTo>
                      <a:lnTo>
                        <a:pt x="42" y="30"/>
                      </a:lnTo>
                      <a:lnTo>
                        <a:pt x="53" y="8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3" name="Freeform 315"/>
                <p:cNvSpPr/>
                <p:nvPr/>
              </p:nvSpPr>
              <p:spPr bwMode="auto">
                <a:xfrm>
                  <a:off x="5590291" y="2687511"/>
                  <a:ext cx="11793" cy="23868"/>
                </a:xfrm>
                <a:custGeom>
                  <a:avLst/>
                  <a:gdLst>
                    <a:gd name="T0" fmla="*/ 0 w 26"/>
                    <a:gd name="T1" fmla="*/ 1 h 49"/>
                    <a:gd name="T2" fmla="*/ 0 w 26"/>
                    <a:gd name="T3" fmla="*/ 0 h 49"/>
                    <a:gd name="T4" fmla="*/ 1 w 26"/>
                    <a:gd name="T5" fmla="*/ 2 h 49"/>
                    <a:gd name="T6" fmla="*/ 0 w 26"/>
                    <a:gd name="T7" fmla="*/ 1 h 4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49"/>
                    <a:gd name="T14" fmla="*/ 26 w 26"/>
                    <a:gd name="T15" fmla="*/ 49 h 4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49">
                      <a:moveTo>
                        <a:pt x="0" y="29"/>
                      </a:moveTo>
                      <a:lnTo>
                        <a:pt x="10" y="0"/>
                      </a:lnTo>
                      <a:lnTo>
                        <a:pt x="26" y="49"/>
                      </a:lnTo>
                      <a:lnTo>
                        <a:pt x="0" y="2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4" name="Freeform 316"/>
                <p:cNvSpPr/>
                <p:nvPr/>
              </p:nvSpPr>
              <p:spPr bwMode="auto">
                <a:xfrm>
                  <a:off x="5716645" y="2864132"/>
                  <a:ext cx="1058006" cy="560095"/>
                </a:xfrm>
                <a:custGeom>
                  <a:avLst/>
                  <a:gdLst>
                    <a:gd name="T0" fmla="*/ 1 w 2200"/>
                    <a:gd name="T1" fmla="*/ 4 h 1238"/>
                    <a:gd name="T2" fmla="*/ 1 w 2200"/>
                    <a:gd name="T3" fmla="*/ 4 h 1238"/>
                    <a:gd name="T4" fmla="*/ 2 w 2200"/>
                    <a:gd name="T5" fmla="*/ 14 h 1238"/>
                    <a:gd name="T6" fmla="*/ 2 w 2200"/>
                    <a:gd name="T7" fmla="*/ 15 h 1238"/>
                    <a:gd name="T8" fmla="*/ 5 w 2200"/>
                    <a:gd name="T9" fmla="*/ 19 h 1238"/>
                    <a:gd name="T10" fmla="*/ 9 w 2200"/>
                    <a:gd name="T11" fmla="*/ 20 h 1238"/>
                    <a:gd name="T12" fmla="*/ 16 w 2200"/>
                    <a:gd name="T13" fmla="*/ 21 h 1238"/>
                    <a:gd name="T14" fmla="*/ 21 w 2200"/>
                    <a:gd name="T15" fmla="*/ 23 h 1238"/>
                    <a:gd name="T16" fmla="*/ 25 w 2200"/>
                    <a:gd name="T17" fmla="*/ 28 h 1238"/>
                    <a:gd name="T18" fmla="*/ 26 w 2200"/>
                    <a:gd name="T19" fmla="*/ 24 h 1238"/>
                    <a:gd name="T20" fmla="*/ 29 w 2200"/>
                    <a:gd name="T21" fmla="*/ 23 h 1238"/>
                    <a:gd name="T22" fmla="*/ 31 w 2200"/>
                    <a:gd name="T23" fmla="*/ 23 h 1238"/>
                    <a:gd name="T24" fmla="*/ 32 w 2200"/>
                    <a:gd name="T25" fmla="*/ 23 h 1238"/>
                    <a:gd name="T26" fmla="*/ 33 w 2200"/>
                    <a:gd name="T27" fmla="*/ 23 h 1238"/>
                    <a:gd name="T28" fmla="*/ 37 w 2200"/>
                    <a:gd name="T29" fmla="*/ 24 h 1238"/>
                    <a:gd name="T30" fmla="*/ 39 w 2200"/>
                    <a:gd name="T31" fmla="*/ 28 h 1238"/>
                    <a:gd name="T32" fmla="*/ 39 w 2200"/>
                    <a:gd name="T33" fmla="*/ 27 h 1238"/>
                    <a:gd name="T34" fmla="*/ 39 w 2200"/>
                    <a:gd name="T35" fmla="*/ 20 h 1238"/>
                    <a:gd name="T36" fmla="*/ 43 w 2200"/>
                    <a:gd name="T37" fmla="*/ 16 h 1238"/>
                    <a:gd name="T38" fmla="*/ 43 w 2200"/>
                    <a:gd name="T39" fmla="*/ 15 h 1238"/>
                    <a:gd name="T40" fmla="*/ 42 w 2200"/>
                    <a:gd name="T41" fmla="*/ 13 h 1238"/>
                    <a:gd name="T42" fmla="*/ 43 w 2200"/>
                    <a:gd name="T43" fmla="*/ 13 h 1238"/>
                    <a:gd name="T44" fmla="*/ 43 w 2200"/>
                    <a:gd name="T45" fmla="*/ 15 h 1238"/>
                    <a:gd name="T46" fmla="*/ 44 w 2200"/>
                    <a:gd name="T47" fmla="*/ 12 h 1238"/>
                    <a:gd name="T48" fmla="*/ 45 w 2200"/>
                    <a:gd name="T49" fmla="*/ 11 h 1238"/>
                    <a:gd name="T50" fmla="*/ 48 w 2200"/>
                    <a:gd name="T51" fmla="*/ 9 h 1238"/>
                    <a:gd name="T52" fmla="*/ 51 w 2200"/>
                    <a:gd name="T53" fmla="*/ 6 h 1238"/>
                    <a:gd name="T54" fmla="*/ 51 w 2200"/>
                    <a:gd name="T55" fmla="*/ 5 h 1238"/>
                    <a:gd name="T56" fmla="*/ 49 w 2200"/>
                    <a:gd name="T57" fmla="*/ 3 h 1238"/>
                    <a:gd name="T58" fmla="*/ 43 w 2200"/>
                    <a:gd name="T59" fmla="*/ 6 h 1238"/>
                    <a:gd name="T60" fmla="*/ 41 w 2200"/>
                    <a:gd name="T61" fmla="*/ 8 h 1238"/>
                    <a:gd name="T62" fmla="*/ 38 w 2200"/>
                    <a:gd name="T63" fmla="*/ 10 h 1238"/>
                    <a:gd name="T64" fmla="*/ 37 w 2200"/>
                    <a:gd name="T65" fmla="*/ 9 h 1238"/>
                    <a:gd name="T66" fmla="*/ 37 w 2200"/>
                    <a:gd name="T67" fmla="*/ 9 h 1238"/>
                    <a:gd name="T68" fmla="*/ 37 w 2200"/>
                    <a:gd name="T69" fmla="*/ 7 h 1238"/>
                    <a:gd name="T70" fmla="*/ 37 w 2200"/>
                    <a:gd name="T71" fmla="*/ 5 h 1238"/>
                    <a:gd name="T72" fmla="*/ 34 w 2200"/>
                    <a:gd name="T73" fmla="*/ 6 h 1238"/>
                    <a:gd name="T74" fmla="*/ 33 w 2200"/>
                    <a:gd name="T75" fmla="*/ 10 h 1238"/>
                    <a:gd name="T76" fmla="*/ 33 w 2200"/>
                    <a:gd name="T77" fmla="*/ 5 h 1238"/>
                    <a:gd name="T78" fmla="*/ 34 w 2200"/>
                    <a:gd name="T79" fmla="*/ 5 h 1238"/>
                    <a:gd name="T80" fmla="*/ 36 w 2200"/>
                    <a:gd name="T81" fmla="*/ 4 h 1238"/>
                    <a:gd name="T82" fmla="*/ 32 w 2200"/>
                    <a:gd name="T83" fmla="*/ 3 h 1238"/>
                    <a:gd name="T84" fmla="*/ 31 w 2200"/>
                    <a:gd name="T85" fmla="*/ 4 h 1238"/>
                    <a:gd name="T86" fmla="*/ 31 w 2200"/>
                    <a:gd name="T87" fmla="*/ 2 h 1238"/>
                    <a:gd name="T88" fmla="*/ 26 w 2200"/>
                    <a:gd name="T89" fmla="*/ 0 h 1238"/>
                    <a:gd name="T90" fmla="*/ 2 w 2200"/>
                    <a:gd name="T91" fmla="*/ 1 h 1238"/>
                    <a:gd name="T92" fmla="*/ 2 w 2200"/>
                    <a:gd name="T93" fmla="*/ 3 h 1238"/>
                    <a:gd name="T94" fmla="*/ 0 w 2200"/>
                    <a:gd name="T95" fmla="*/ 2 h 1238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2200"/>
                    <a:gd name="T145" fmla="*/ 0 h 1238"/>
                    <a:gd name="T146" fmla="*/ 2200 w 2200"/>
                    <a:gd name="T147" fmla="*/ 1238 h 1238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2200" h="1238">
                      <a:moveTo>
                        <a:pt x="0" y="69"/>
                      </a:moveTo>
                      <a:lnTo>
                        <a:pt x="26" y="169"/>
                      </a:lnTo>
                      <a:lnTo>
                        <a:pt x="56" y="180"/>
                      </a:lnTo>
                      <a:lnTo>
                        <a:pt x="32" y="187"/>
                      </a:lnTo>
                      <a:lnTo>
                        <a:pt x="12" y="491"/>
                      </a:lnTo>
                      <a:lnTo>
                        <a:pt x="70" y="612"/>
                      </a:lnTo>
                      <a:lnTo>
                        <a:pt x="104" y="612"/>
                      </a:lnTo>
                      <a:lnTo>
                        <a:pt x="89" y="656"/>
                      </a:lnTo>
                      <a:lnTo>
                        <a:pt x="160" y="786"/>
                      </a:lnTo>
                      <a:lnTo>
                        <a:pt x="231" y="816"/>
                      </a:lnTo>
                      <a:lnTo>
                        <a:pt x="291" y="890"/>
                      </a:lnTo>
                      <a:lnTo>
                        <a:pt x="378" y="881"/>
                      </a:lnTo>
                      <a:lnTo>
                        <a:pt x="524" y="951"/>
                      </a:lnTo>
                      <a:lnTo>
                        <a:pt x="698" y="924"/>
                      </a:lnTo>
                      <a:lnTo>
                        <a:pt x="800" y="1055"/>
                      </a:lnTo>
                      <a:lnTo>
                        <a:pt x="879" y="1020"/>
                      </a:lnTo>
                      <a:lnTo>
                        <a:pt x="978" y="1181"/>
                      </a:lnTo>
                      <a:lnTo>
                        <a:pt x="1053" y="1208"/>
                      </a:lnTo>
                      <a:lnTo>
                        <a:pt x="1046" y="1119"/>
                      </a:lnTo>
                      <a:lnTo>
                        <a:pt x="1126" y="1065"/>
                      </a:lnTo>
                      <a:lnTo>
                        <a:pt x="1133" y="1022"/>
                      </a:lnTo>
                      <a:lnTo>
                        <a:pt x="1244" y="1020"/>
                      </a:lnTo>
                      <a:lnTo>
                        <a:pt x="1346" y="1055"/>
                      </a:lnTo>
                      <a:lnTo>
                        <a:pt x="1347" y="1001"/>
                      </a:lnTo>
                      <a:lnTo>
                        <a:pt x="1307" y="995"/>
                      </a:lnTo>
                      <a:lnTo>
                        <a:pt x="1389" y="993"/>
                      </a:lnTo>
                      <a:lnTo>
                        <a:pt x="1394" y="969"/>
                      </a:lnTo>
                      <a:lnTo>
                        <a:pt x="1401" y="997"/>
                      </a:lnTo>
                      <a:lnTo>
                        <a:pt x="1557" y="1008"/>
                      </a:lnTo>
                      <a:lnTo>
                        <a:pt x="1597" y="1053"/>
                      </a:lnTo>
                      <a:lnTo>
                        <a:pt x="1603" y="1134"/>
                      </a:lnTo>
                      <a:lnTo>
                        <a:pt x="1654" y="1238"/>
                      </a:lnTo>
                      <a:lnTo>
                        <a:pt x="1684" y="1235"/>
                      </a:lnTo>
                      <a:lnTo>
                        <a:pt x="1699" y="1156"/>
                      </a:lnTo>
                      <a:lnTo>
                        <a:pt x="1644" y="969"/>
                      </a:lnTo>
                      <a:lnTo>
                        <a:pt x="1676" y="889"/>
                      </a:lnTo>
                      <a:lnTo>
                        <a:pt x="1870" y="736"/>
                      </a:lnTo>
                      <a:lnTo>
                        <a:pt x="1833" y="720"/>
                      </a:lnTo>
                      <a:lnTo>
                        <a:pt x="1867" y="713"/>
                      </a:lnTo>
                      <a:lnTo>
                        <a:pt x="1840" y="662"/>
                      </a:lnTo>
                      <a:lnTo>
                        <a:pt x="1846" y="617"/>
                      </a:lnTo>
                      <a:lnTo>
                        <a:pt x="1805" y="585"/>
                      </a:lnTo>
                      <a:lnTo>
                        <a:pt x="1846" y="608"/>
                      </a:lnTo>
                      <a:lnTo>
                        <a:pt x="1835" y="554"/>
                      </a:lnTo>
                      <a:lnTo>
                        <a:pt x="1862" y="536"/>
                      </a:lnTo>
                      <a:lnTo>
                        <a:pt x="1867" y="656"/>
                      </a:lnTo>
                      <a:lnTo>
                        <a:pt x="1895" y="586"/>
                      </a:lnTo>
                      <a:lnTo>
                        <a:pt x="1878" y="529"/>
                      </a:lnTo>
                      <a:lnTo>
                        <a:pt x="1896" y="562"/>
                      </a:lnTo>
                      <a:lnTo>
                        <a:pt x="1937" y="464"/>
                      </a:lnTo>
                      <a:lnTo>
                        <a:pt x="2092" y="420"/>
                      </a:lnTo>
                      <a:lnTo>
                        <a:pt x="2051" y="394"/>
                      </a:lnTo>
                      <a:lnTo>
                        <a:pt x="2081" y="320"/>
                      </a:lnTo>
                      <a:lnTo>
                        <a:pt x="2195" y="264"/>
                      </a:lnTo>
                      <a:lnTo>
                        <a:pt x="2200" y="233"/>
                      </a:lnTo>
                      <a:lnTo>
                        <a:pt x="2171" y="209"/>
                      </a:lnTo>
                      <a:lnTo>
                        <a:pt x="2171" y="136"/>
                      </a:lnTo>
                      <a:lnTo>
                        <a:pt x="2109" y="114"/>
                      </a:lnTo>
                      <a:lnTo>
                        <a:pt x="2061" y="230"/>
                      </a:lnTo>
                      <a:lnTo>
                        <a:pt x="1867" y="274"/>
                      </a:lnTo>
                      <a:lnTo>
                        <a:pt x="1851" y="324"/>
                      </a:lnTo>
                      <a:lnTo>
                        <a:pt x="1740" y="345"/>
                      </a:lnTo>
                      <a:lnTo>
                        <a:pt x="1747" y="363"/>
                      </a:lnTo>
                      <a:lnTo>
                        <a:pt x="1637" y="431"/>
                      </a:lnTo>
                      <a:lnTo>
                        <a:pt x="1586" y="429"/>
                      </a:lnTo>
                      <a:lnTo>
                        <a:pt x="1584" y="410"/>
                      </a:lnTo>
                      <a:lnTo>
                        <a:pt x="1592" y="387"/>
                      </a:lnTo>
                      <a:lnTo>
                        <a:pt x="1604" y="372"/>
                      </a:lnTo>
                      <a:lnTo>
                        <a:pt x="1611" y="351"/>
                      </a:lnTo>
                      <a:lnTo>
                        <a:pt x="1592" y="297"/>
                      </a:lnTo>
                      <a:lnTo>
                        <a:pt x="1554" y="318"/>
                      </a:lnTo>
                      <a:lnTo>
                        <a:pt x="1569" y="230"/>
                      </a:lnTo>
                      <a:lnTo>
                        <a:pt x="1509" y="209"/>
                      </a:lnTo>
                      <a:lnTo>
                        <a:pt x="1465" y="264"/>
                      </a:lnTo>
                      <a:lnTo>
                        <a:pt x="1448" y="413"/>
                      </a:lnTo>
                      <a:lnTo>
                        <a:pt x="1413" y="417"/>
                      </a:lnTo>
                      <a:lnTo>
                        <a:pt x="1402" y="347"/>
                      </a:lnTo>
                      <a:lnTo>
                        <a:pt x="1434" y="234"/>
                      </a:lnTo>
                      <a:lnTo>
                        <a:pt x="1403" y="252"/>
                      </a:lnTo>
                      <a:lnTo>
                        <a:pt x="1451" y="196"/>
                      </a:lnTo>
                      <a:lnTo>
                        <a:pt x="1552" y="194"/>
                      </a:lnTo>
                      <a:lnTo>
                        <a:pt x="1536" y="164"/>
                      </a:lnTo>
                      <a:lnTo>
                        <a:pt x="1529" y="164"/>
                      </a:lnTo>
                      <a:lnTo>
                        <a:pt x="1381" y="146"/>
                      </a:lnTo>
                      <a:lnTo>
                        <a:pt x="1403" y="110"/>
                      </a:lnTo>
                      <a:lnTo>
                        <a:pt x="1315" y="159"/>
                      </a:lnTo>
                      <a:lnTo>
                        <a:pt x="1243" y="159"/>
                      </a:lnTo>
                      <a:lnTo>
                        <a:pt x="1330" y="82"/>
                      </a:lnTo>
                      <a:lnTo>
                        <a:pt x="1147" y="40"/>
                      </a:lnTo>
                      <a:lnTo>
                        <a:pt x="1127" y="0"/>
                      </a:lnTo>
                      <a:lnTo>
                        <a:pt x="1126" y="26"/>
                      </a:lnTo>
                      <a:lnTo>
                        <a:pt x="72" y="26"/>
                      </a:lnTo>
                      <a:lnTo>
                        <a:pt x="90" y="73"/>
                      </a:lnTo>
                      <a:lnTo>
                        <a:pt x="70" y="114"/>
                      </a:lnTo>
                      <a:lnTo>
                        <a:pt x="74" y="72"/>
                      </a:lnTo>
                      <a:lnTo>
                        <a:pt x="0" y="6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5" name="Freeform 317"/>
                <p:cNvSpPr/>
                <p:nvPr/>
              </p:nvSpPr>
              <p:spPr bwMode="auto">
                <a:xfrm>
                  <a:off x="6931331" y="4557145"/>
                  <a:ext cx="94345" cy="108200"/>
                </a:xfrm>
                <a:custGeom>
                  <a:avLst/>
                  <a:gdLst>
                    <a:gd name="T0" fmla="*/ 0 w 199"/>
                    <a:gd name="T1" fmla="*/ 5 h 238"/>
                    <a:gd name="T2" fmla="*/ 1 w 199"/>
                    <a:gd name="T3" fmla="*/ 0 h 238"/>
                    <a:gd name="T4" fmla="*/ 1 w 199"/>
                    <a:gd name="T5" fmla="*/ 0 h 238"/>
                    <a:gd name="T6" fmla="*/ 4 w 199"/>
                    <a:gd name="T7" fmla="*/ 2 h 238"/>
                    <a:gd name="T8" fmla="*/ 5 w 199"/>
                    <a:gd name="T9" fmla="*/ 3 h 238"/>
                    <a:gd name="T10" fmla="*/ 4 w 199"/>
                    <a:gd name="T11" fmla="*/ 4 h 238"/>
                    <a:gd name="T12" fmla="*/ 3 w 199"/>
                    <a:gd name="T13" fmla="*/ 5 h 238"/>
                    <a:gd name="T14" fmla="*/ 0 w 199"/>
                    <a:gd name="T15" fmla="*/ 5 h 23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99"/>
                    <a:gd name="T25" fmla="*/ 0 h 238"/>
                    <a:gd name="T26" fmla="*/ 199 w 199"/>
                    <a:gd name="T27" fmla="*/ 238 h 238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99" h="238">
                      <a:moveTo>
                        <a:pt x="0" y="192"/>
                      </a:moveTo>
                      <a:lnTo>
                        <a:pt x="31" y="8"/>
                      </a:lnTo>
                      <a:lnTo>
                        <a:pt x="62" y="0"/>
                      </a:lnTo>
                      <a:lnTo>
                        <a:pt x="174" y="94"/>
                      </a:lnTo>
                      <a:lnTo>
                        <a:pt x="199" y="131"/>
                      </a:lnTo>
                      <a:lnTo>
                        <a:pt x="189" y="178"/>
                      </a:lnTo>
                      <a:lnTo>
                        <a:pt x="136" y="238"/>
                      </a:lnTo>
                      <a:lnTo>
                        <a:pt x="0" y="19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6" name="Freeform 318"/>
                <p:cNvSpPr/>
                <p:nvPr/>
              </p:nvSpPr>
              <p:spPr bwMode="auto">
                <a:xfrm>
                  <a:off x="6660091" y="3693136"/>
                  <a:ext cx="245970" cy="229130"/>
                </a:xfrm>
                <a:custGeom>
                  <a:avLst/>
                  <a:gdLst>
                    <a:gd name="T0" fmla="*/ 0 w 510"/>
                    <a:gd name="T1" fmla="*/ 3 h 507"/>
                    <a:gd name="T2" fmla="*/ 1 w 510"/>
                    <a:gd name="T3" fmla="*/ 5 h 507"/>
                    <a:gd name="T4" fmla="*/ 3 w 510"/>
                    <a:gd name="T5" fmla="*/ 5 h 507"/>
                    <a:gd name="T6" fmla="*/ 3 w 510"/>
                    <a:gd name="T7" fmla="*/ 6 h 507"/>
                    <a:gd name="T8" fmla="*/ 5 w 510"/>
                    <a:gd name="T9" fmla="*/ 6 h 507"/>
                    <a:gd name="T10" fmla="*/ 5 w 510"/>
                    <a:gd name="T11" fmla="*/ 10 h 507"/>
                    <a:gd name="T12" fmla="*/ 6 w 510"/>
                    <a:gd name="T13" fmla="*/ 11 h 507"/>
                    <a:gd name="T14" fmla="*/ 7 w 510"/>
                    <a:gd name="T15" fmla="*/ 12 h 507"/>
                    <a:gd name="T16" fmla="*/ 9 w 510"/>
                    <a:gd name="T17" fmla="*/ 10 h 507"/>
                    <a:gd name="T18" fmla="*/ 8 w 510"/>
                    <a:gd name="T19" fmla="*/ 10 h 507"/>
                    <a:gd name="T20" fmla="*/ 8 w 510"/>
                    <a:gd name="T21" fmla="*/ 8 h 507"/>
                    <a:gd name="T22" fmla="*/ 9 w 510"/>
                    <a:gd name="T23" fmla="*/ 9 h 507"/>
                    <a:gd name="T24" fmla="*/ 11 w 510"/>
                    <a:gd name="T25" fmla="*/ 7 h 507"/>
                    <a:gd name="T26" fmla="*/ 11 w 510"/>
                    <a:gd name="T27" fmla="*/ 6 h 507"/>
                    <a:gd name="T28" fmla="*/ 11 w 510"/>
                    <a:gd name="T29" fmla="*/ 5 h 507"/>
                    <a:gd name="T30" fmla="*/ 11 w 510"/>
                    <a:gd name="T31" fmla="*/ 5 h 507"/>
                    <a:gd name="T32" fmla="*/ 12 w 510"/>
                    <a:gd name="T33" fmla="*/ 4 h 507"/>
                    <a:gd name="T34" fmla="*/ 11 w 510"/>
                    <a:gd name="T35" fmla="*/ 4 h 507"/>
                    <a:gd name="T36" fmla="*/ 11 w 510"/>
                    <a:gd name="T37" fmla="*/ 3 h 507"/>
                    <a:gd name="T38" fmla="*/ 9 w 510"/>
                    <a:gd name="T39" fmla="*/ 2 h 507"/>
                    <a:gd name="T40" fmla="*/ 10 w 510"/>
                    <a:gd name="T41" fmla="*/ 2 h 507"/>
                    <a:gd name="T42" fmla="*/ 5 w 510"/>
                    <a:gd name="T43" fmla="*/ 2 h 507"/>
                    <a:gd name="T44" fmla="*/ 3 w 510"/>
                    <a:gd name="T45" fmla="*/ 0 h 507"/>
                    <a:gd name="T46" fmla="*/ 3 w 510"/>
                    <a:gd name="T47" fmla="*/ 1 h 507"/>
                    <a:gd name="T48" fmla="*/ 1 w 510"/>
                    <a:gd name="T49" fmla="*/ 1 h 507"/>
                    <a:gd name="T50" fmla="*/ 2 w 510"/>
                    <a:gd name="T51" fmla="*/ 3 h 507"/>
                    <a:gd name="T52" fmla="*/ 1 w 510"/>
                    <a:gd name="T53" fmla="*/ 3 h 507"/>
                    <a:gd name="T54" fmla="*/ 1 w 510"/>
                    <a:gd name="T55" fmla="*/ 2 h 507"/>
                    <a:gd name="T56" fmla="*/ 2 w 510"/>
                    <a:gd name="T57" fmla="*/ 1 h 507"/>
                    <a:gd name="T58" fmla="*/ 0 w 510"/>
                    <a:gd name="T59" fmla="*/ 3 h 507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510"/>
                    <a:gd name="T91" fmla="*/ 0 h 507"/>
                    <a:gd name="T92" fmla="*/ 510 w 510"/>
                    <a:gd name="T93" fmla="*/ 507 h 507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510" h="507">
                      <a:moveTo>
                        <a:pt x="0" y="138"/>
                      </a:moveTo>
                      <a:lnTo>
                        <a:pt x="48" y="226"/>
                      </a:lnTo>
                      <a:lnTo>
                        <a:pt x="122" y="237"/>
                      </a:lnTo>
                      <a:lnTo>
                        <a:pt x="146" y="275"/>
                      </a:lnTo>
                      <a:lnTo>
                        <a:pt x="220" y="269"/>
                      </a:lnTo>
                      <a:lnTo>
                        <a:pt x="208" y="422"/>
                      </a:lnTo>
                      <a:lnTo>
                        <a:pt x="243" y="486"/>
                      </a:lnTo>
                      <a:lnTo>
                        <a:pt x="284" y="507"/>
                      </a:lnTo>
                      <a:lnTo>
                        <a:pt x="379" y="448"/>
                      </a:lnTo>
                      <a:lnTo>
                        <a:pt x="341" y="437"/>
                      </a:lnTo>
                      <a:lnTo>
                        <a:pt x="325" y="352"/>
                      </a:lnTo>
                      <a:lnTo>
                        <a:pt x="387" y="368"/>
                      </a:lnTo>
                      <a:lnTo>
                        <a:pt x="487" y="315"/>
                      </a:lnTo>
                      <a:lnTo>
                        <a:pt x="457" y="275"/>
                      </a:lnTo>
                      <a:lnTo>
                        <a:pt x="491" y="236"/>
                      </a:lnTo>
                      <a:lnTo>
                        <a:pt x="477" y="207"/>
                      </a:lnTo>
                      <a:lnTo>
                        <a:pt x="510" y="175"/>
                      </a:lnTo>
                      <a:lnTo>
                        <a:pt x="467" y="168"/>
                      </a:lnTo>
                      <a:lnTo>
                        <a:pt x="467" y="127"/>
                      </a:lnTo>
                      <a:lnTo>
                        <a:pt x="391" y="84"/>
                      </a:lnTo>
                      <a:lnTo>
                        <a:pt x="426" y="72"/>
                      </a:lnTo>
                      <a:lnTo>
                        <a:pt x="200" y="81"/>
                      </a:lnTo>
                      <a:lnTo>
                        <a:pt x="127" y="0"/>
                      </a:lnTo>
                      <a:lnTo>
                        <a:pt x="133" y="37"/>
                      </a:lnTo>
                      <a:lnTo>
                        <a:pt x="66" y="68"/>
                      </a:lnTo>
                      <a:lnTo>
                        <a:pt x="86" y="127"/>
                      </a:lnTo>
                      <a:lnTo>
                        <a:pt x="63" y="150"/>
                      </a:lnTo>
                      <a:lnTo>
                        <a:pt x="48" y="96"/>
                      </a:lnTo>
                      <a:lnTo>
                        <a:pt x="73" y="22"/>
                      </a:lnTo>
                      <a:lnTo>
                        <a:pt x="0" y="13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" name="Freeform 320"/>
                <p:cNvSpPr/>
                <p:nvPr/>
              </p:nvSpPr>
              <p:spPr bwMode="auto">
                <a:xfrm>
                  <a:off x="2360677" y="3131450"/>
                  <a:ext cx="259447" cy="203671"/>
                </a:xfrm>
                <a:custGeom>
                  <a:avLst/>
                  <a:gdLst>
                    <a:gd name="T0" fmla="*/ 0 w 542"/>
                    <a:gd name="T1" fmla="*/ 5 h 449"/>
                    <a:gd name="T2" fmla="*/ 0 w 542"/>
                    <a:gd name="T3" fmla="*/ 8 h 449"/>
                    <a:gd name="T4" fmla="*/ 1 w 542"/>
                    <a:gd name="T5" fmla="*/ 9 h 449"/>
                    <a:gd name="T6" fmla="*/ 0 w 542"/>
                    <a:gd name="T7" fmla="*/ 10 h 449"/>
                    <a:gd name="T8" fmla="*/ 2 w 542"/>
                    <a:gd name="T9" fmla="*/ 10 h 449"/>
                    <a:gd name="T10" fmla="*/ 5 w 542"/>
                    <a:gd name="T11" fmla="*/ 10 h 449"/>
                    <a:gd name="T12" fmla="*/ 5 w 542"/>
                    <a:gd name="T13" fmla="*/ 8 h 449"/>
                    <a:gd name="T14" fmla="*/ 8 w 542"/>
                    <a:gd name="T15" fmla="*/ 8 h 449"/>
                    <a:gd name="T16" fmla="*/ 8 w 542"/>
                    <a:gd name="T17" fmla="*/ 6 h 449"/>
                    <a:gd name="T18" fmla="*/ 9 w 542"/>
                    <a:gd name="T19" fmla="*/ 6 h 449"/>
                    <a:gd name="T20" fmla="*/ 8 w 542"/>
                    <a:gd name="T21" fmla="*/ 5 h 449"/>
                    <a:gd name="T22" fmla="*/ 9 w 542"/>
                    <a:gd name="T23" fmla="*/ 5 h 449"/>
                    <a:gd name="T24" fmla="*/ 10 w 542"/>
                    <a:gd name="T25" fmla="*/ 4 h 449"/>
                    <a:gd name="T26" fmla="*/ 9 w 542"/>
                    <a:gd name="T27" fmla="*/ 3 h 449"/>
                    <a:gd name="T28" fmla="*/ 12 w 542"/>
                    <a:gd name="T29" fmla="*/ 2 h 449"/>
                    <a:gd name="T30" fmla="*/ 13 w 542"/>
                    <a:gd name="T31" fmla="*/ 1 h 449"/>
                    <a:gd name="T32" fmla="*/ 11 w 542"/>
                    <a:gd name="T33" fmla="*/ 1 h 449"/>
                    <a:gd name="T34" fmla="*/ 10 w 542"/>
                    <a:gd name="T35" fmla="*/ 2 h 449"/>
                    <a:gd name="T36" fmla="*/ 9 w 542"/>
                    <a:gd name="T37" fmla="*/ 0 h 449"/>
                    <a:gd name="T38" fmla="*/ 8 w 542"/>
                    <a:gd name="T39" fmla="*/ 1 h 449"/>
                    <a:gd name="T40" fmla="*/ 4 w 542"/>
                    <a:gd name="T41" fmla="*/ 1 h 449"/>
                    <a:gd name="T42" fmla="*/ 2 w 542"/>
                    <a:gd name="T43" fmla="*/ 4 h 449"/>
                    <a:gd name="T44" fmla="*/ 1 w 542"/>
                    <a:gd name="T45" fmla="*/ 3 h 449"/>
                    <a:gd name="T46" fmla="*/ 0 w 542"/>
                    <a:gd name="T47" fmla="*/ 5 h 449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542"/>
                    <a:gd name="T73" fmla="*/ 0 h 449"/>
                    <a:gd name="T74" fmla="*/ 542 w 542"/>
                    <a:gd name="T75" fmla="*/ 449 h 449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542" h="449">
                      <a:moveTo>
                        <a:pt x="0" y="214"/>
                      </a:moveTo>
                      <a:lnTo>
                        <a:pt x="6" y="333"/>
                      </a:lnTo>
                      <a:lnTo>
                        <a:pt x="42" y="368"/>
                      </a:lnTo>
                      <a:lnTo>
                        <a:pt x="14" y="426"/>
                      </a:lnTo>
                      <a:lnTo>
                        <a:pt x="73" y="449"/>
                      </a:lnTo>
                      <a:lnTo>
                        <a:pt x="212" y="426"/>
                      </a:lnTo>
                      <a:lnTo>
                        <a:pt x="239" y="361"/>
                      </a:lnTo>
                      <a:lnTo>
                        <a:pt x="333" y="325"/>
                      </a:lnTo>
                      <a:lnTo>
                        <a:pt x="340" y="269"/>
                      </a:lnTo>
                      <a:lnTo>
                        <a:pt x="375" y="254"/>
                      </a:lnTo>
                      <a:lnTo>
                        <a:pt x="361" y="226"/>
                      </a:lnTo>
                      <a:lnTo>
                        <a:pt x="393" y="222"/>
                      </a:lnTo>
                      <a:lnTo>
                        <a:pt x="418" y="168"/>
                      </a:lnTo>
                      <a:lnTo>
                        <a:pt x="408" y="112"/>
                      </a:lnTo>
                      <a:lnTo>
                        <a:pt x="538" y="72"/>
                      </a:lnTo>
                      <a:lnTo>
                        <a:pt x="542" y="61"/>
                      </a:lnTo>
                      <a:lnTo>
                        <a:pt x="492" y="50"/>
                      </a:lnTo>
                      <a:lnTo>
                        <a:pt x="423" y="88"/>
                      </a:lnTo>
                      <a:lnTo>
                        <a:pt x="392" y="0"/>
                      </a:lnTo>
                      <a:lnTo>
                        <a:pt x="335" y="66"/>
                      </a:lnTo>
                      <a:lnTo>
                        <a:pt x="169" y="61"/>
                      </a:lnTo>
                      <a:lnTo>
                        <a:pt x="82" y="165"/>
                      </a:lnTo>
                      <a:lnTo>
                        <a:pt x="25" y="131"/>
                      </a:lnTo>
                      <a:lnTo>
                        <a:pt x="0" y="214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" name="Freeform 321"/>
                <p:cNvSpPr/>
                <p:nvPr/>
              </p:nvSpPr>
              <p:spPr bwMode="auto">
                <a:xfrm>
                  <a:off x="1602551" y="3034388"/>
                  <a:ext cx="33694" cy="68421"/>
                </a:xfrm>
                <a:custGeom>
                  <a:avLst/>
                  <a:gdLst>
                    <a:gd name="T0" fmla="*/ 0 w 71"/>
                    <a:gd name="T1" fmla="*/ 3 h 151"/>
                    <a:gd name="T2" fmla="*/ 0 w 71"/>
                    <a:gd name="T3" fmla="*/ 1 h 151"/>
                    <a:gd name="T4" fmla="*/ 1 w 71"/>
                    <a:gd name="T5" fmla="*/ 0 h 151"/>
                    <a:gd name="T6" fmla="*/ 2 w 71"/>
                    <a:gd name="T7" fmla="*/ 2 h 151"/>
                    <a:gd name="T8" fmla="*/ 1 w 71"/>
                    <a:gd name="T9" fmla="*/ 3 h 151"/>
                    <a:gd name="T10" fmla="*/ 0 w 71"/>
                    <a:gd name="T11" fmla="*/ 3 h 15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71"/>
                    <a:gd name="T19" fmla="*/ 0 h 151"/>
                    <a:gd name="T20" fmla="*/ 71 w 71"/>
                    <a:gd name="T21" fmla="*/ 151 h 15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71" h="151">
                      <a:moveTo>
                        <a:pt x="0" y="114"/>
                      </a:moveTo>
                      <a:lnTo>
                        <a:pt x="1" y="37"/>
                      </a:lnTo>
                      <a:lnTo>
                        <a:pt x="33" y="0"/>
                      </a:lnTo>
                      <a:lnTo>
                        <a:pt x="71" y="88"/>
                      </a:lnTo>
                      <a:lnTo>
                        <a:pt x="35" y="151"/>
                      </a:lnTo>
                      <a:lnTo>
                        <a:pt x="0" y="114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" name="Freeform 322"/>
                <p:cNvSpPr/>
                <p:nvPr/>
              </p:nvSpPr>
              <p:spPr bwMode="auto">
                <a:xfrm>
                  <a:off x="1090395" y="3166456"/>
                  <a:ext cx="374009" cy="388247"/>
                </a:xfrm>
                <a:custGeom>
                  <a:avLst/>
                  <a:gdLst>
                    <a:gd name="T0" fmla="*/ 0 w 776"/>
                    <a:gd name="T1" fmla="*/ 11 h 857"/>
                    <a:gd name="T2" fmla="*/ 0 w 776"/>
                    <a:gd name="T3" fmla="*/ 11 h 857"/>
                    <a:gd name="T4" fmla="*/ 3 w 776"/>
                    <a:gd name="T5" fmla="*/ 13 h 857"/>
                    <a:gd name="T6" fmla="*/ 11 w 776"/>
                    <a:gd name="T7" fmla="*/ 19 h 857"/>
                    <a:gd name="T8" fmla="*/ 11 w 776"/>
                    <a:gd name="T9" fmla="*/ 20 h 857"/>
                    <a:gd name="T10" fmla="*/ 11 w 776"/>
                    <a:gd name="T11" fmla="*/ 20 h 857"/>
                    <a:gd name="T12" fmla="*/ 13 w 776"/>
                    <a:gd name="T13" fmla="*/ 19 h 857"/>
                    <a:gd name="T14" fmla="*/ 18 w 776"/>
                    <a:gd name="T15" fmla="*/ 15 h 857"/>
                    <a:gd name="T16" fmla="*/ 16 w 776"/>
                    <a:gd name="T17" fmla="*/ 12 h 857"/>
                    <a:gd name="T18" fmla="*/ 16 w 776"/>
                    <a:gd name="T19" fmla="*/ 8 h 857"/>
                    <a:gd name="T20" fmla="*/ 16 w 776"/>
                    <a:gd name="T21" fmla="*/ 6 h 857"/>
                    <a:gd name="T22" fmla="*/ 14 w 776"/>
                    <a:gd name="T23" fmla="*/ 3 h 857"/>
                    <a:gd name="T24" fmla="*/ 15 w 776"/>
                    <a:gd name="T25" fmla="*/ 3 h 857"/>
                    <a:gd name="T26" fmla="*/ 15 w 776"/>
                    <a:gd name="T27" fmla="*/ 0 h 857"/>
                    <a:gd name="T28" fmla="*/ 9 w 776"/>
                    <a:gd name="T29" fmla="*/ 1 h 857"/>
                    <a:gd name="T30" fmla="*/ 6 w 776"/>
                    <a:gd name="T31" fmla="*/ 2 h 857"/>
                    <a:gd name="T32" fmla="*/ 7 w 776"/>
                    <a:gd name="T33" fmla="*/ 5 h 857"/>
                    <a:gd name="T34" fmla="*/ 5 w 776"/>
                    <a:gd name="T35" fmla="*/ 6 h 857"/>
                    <a:gd name="T36" fmla="*/ 4 w 776"/>
                    <a:gd name="T37" fmla="*/ 6 h 857"/>
                    <a:gd name="T38" fmla="*/ 5 w 776"/>
                    <a:gd name="T39" fmla="*/ 7 h 857"/>
                    <a:gd name="T40" fmla="*/ 1 w 776"/>
                    <a:gd name="T41" fmla="*/ 9 h 857"/>
                    <a:gd name="T42" fmla="*/ 0 w 776"/>
                    <a:gd name="T43" fmla="*/ 11 h 857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776"/>
                    <a:gd name="T67" fmla="*/ 0 h 857"/>
                    <a:gd name="T68" fmla="*/ 776 w 776"/>
                    <a:gd name="T69" fmla="*/ 857 h 857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776" h="857">
                      <a:moveTo>
                        <a:pt x="0" y="458"/>
                      </a:moveTo>
                      <a:lnTo>
                        <a:pt x="5" y="475"/>
                      </a:lnTo>
                      <a:lnTo>
                        <a:pt x="150" y="582"/>
                      </a:lnTo>
                      <a:lnTo>
                        <a:pt x="454" y="818"/>
                      </a:lnTo>
                      <a:lnTo>
                        <a:pt x="456" y="857"/>
                      </a:lnTo>
                      <a:lnTo>
                        <a:pt x="488" y="853"/>
                      </a:lnTo>
                      <a:lnTo>
                        <a:pt x="547" y="836"/>
                      </a:lnTo>
                      <a:lnTo>
                        <a:pt x="776" y="651"/>
                      </a:lnTo>
                      <a:lnTo>
                        <a:pt x="687" y="527"/>
                      </a:lnTo>
                      <a:lnTo>
                        <a:pt x="688" y="330"/>
                      </a:lnTo>
                      <a:lnTo>
                        <a:pt x="679" y="241"/>
                      </a:lnTo>
                      <a:lnTo>
                        <a:pt x="612" y="151"/>
                      </a:lnTo>
                      <a:lnTo>
                        <a:pt x="647" y="120"/>
                      </a:lnTo>
                      <a:lnTo>
                        <a:pt x="659" y="0"/>
                      </a:lnTo>
                      <a:lnTo>
                        <a:pt x="391" y="20"/>
                      </a:lnTo>
                      <a:lnTo>
                        <a:pt x="246" y="92"/>
                      </a:lnTo>
                      <a:lnTo>
                        <a:pt x="284" y="238"/>
                      </a:lnTo>
                      <a:lnTo>
                        <a:pt x="224" y="241"/>
                      </a:lnTo>
                      <a:lnTo>
                        <a:pt x="189" y="258"/>
                      </a:lnTo>
                      <a:lnTo>
                        <a:pt x="196" y="296"/>
                      </a:lnTo>
                      <a:lnTo>
                        <a:pt x="21" y="383"/>
                      </a:lnTo>
                      <a:lnTo>
                        <a:pt x="0" y="45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" name="Freeform 323"/>
                <p:cNvSpPr/>
                <p:nvPr/>
              </p:nvSpPr>
              <p:spPr bwMode="auto">
                <a:xfrm>
                  <a:off x="3324339" y="4154578"/>
                  <a:ext cx="739594" cy="609421"/>
                </a:xfrm>
                <a:custGeom>
                  <a:avLst/>
                  <a:gdLst>
                    <a:gd name="T0" fmla="*/ 1 w 1543"/>
                    <a:gd name="T1" fmla="*/ 17 h 1343"/>
                    <a:gd name="T2" fmla="*/ 1 w 1543"/>
                    <a:gd name="T3" fmla="*/ 16 h 1343"/>
                    <a:gd name="T4" fmla="*/ 1 w 1543"/>
                    <a:gd name="T5" fmla="*/ 12 h 1343"/>
                    <a:gd name="T6" fmla="*/ 3 w 1543"/>
                    <a:gd name="T7" fmla="*/ 10 h 1343"/>
                    <a:gd name="T8" fmla="*/ 8 w 1543"/>
                    <a:gd name="T9" fmla="*/ 8 h 1343"/>
                    <a:gd name="T10" fmla="*/ 9 w 1543"/>
                    <a:gd name="T11" fmla="*/ 6 h 1343"/>
                    <a:gd name="T12" fmla="*/ 9 w 1543"/>
                    <a:gd name="T13" fmla="*/ 6 h 1343"/>
                    <a:gd name="T14" fmla="*/ 10 w 1543"/>
                    <a:gd name="T15" fmla="*/ 5 h 1343"/>
                    <a:gd name="T16" fmla="*/ 13 w 1543"/>
                    <a:gd name="T17" fmla="*/ 4 h 1343"/>
                    <a:gd name="T18" fmla="*/ 14 w 1543"/>
                    <a:gd name="T19" fmla="*/ 4 h 1343"/>
                    <a:gd name="T20" fmla="*/ 14 w 1543"/>
                    <a:gd name="T21" fmla="*/ 4 h 1343"/>
                    <a:gd name="T22" fmla="*/ 17 w 1543"/>
                    <a:gd name="T23" fmla="*/ 1 h 1343"/>
                    <a:gd name="T24" fmla="*/ 20 w 1543"/>
                    <a:gd name="T25" fmla="*/ 2 h 1343"/>
                    <a:gd name="T26" fmla="*/ 24 w 1543"/>
                    <a:gd name="T27" fmla="*/ 7 h 1343"/>
                    <a:gd name="T28" fmla="*/ 25 w 1543"/>
                    <a:gd name="T29" fmla="*/ 1 h 1343"/>
                    <a:gd name="T30" fmla="*/ 27 w 1543"/>
                    <a:gd name="T31" fmla="*/ 4 h 1343"/>
                    <a:gd name="T32" fmla="*/ 29 w 1543"/>
                    <a:gd name="T33" fmla="*/ 9 h 1343"/>
                    <a:gd name="T34" fmla="*/ 32 w 1543"/>
                    <a:gd name="T35" fmla="*/ 13 h 1343"/>
                    <a:gd name="T36" fmla="*/ 33 w 1543"/>
                    <a:gd name="T37" fmla="*/ 14 h 1343"/>
                    <a:gd name="T38" fmla="*/ 36 w 1543"/>
                    <a:gd name="T39" fmla="*/ 19 h 1343"/>
                    <a:gd name="T40" fmla="*/ 34 w 1543"/>
                    <a:gd name="T41" fmla="*/ 25 h 1343"/>
                    <a:gd name="T42" fmla="*/ 30 w 1543"/>
                    <a:gd name="T43" fmla="*/ 30 h 1343"/>
                    <a:gd name="T44" fmla="*/ 29 w 1543"/>
                    <a:gd name="T45" fmla="*/ 31 h 1343"/>
                    <a:gd name="T46" fmla="*/ 27 w 1543"/>
                    <a:gd name="T47" fmla="*/ 31 h 1343"/>
                    <a:gd name="T48" fmla="*/ 24 w 1543"/>
                    <a:gd name="T49" fmla="*/ 29 h 1343"/>
                    <a:gd name="T50" fmla="*/ 22 w 1543"/>
                    <a:gd name="T51" fmla="*/ 27 h 1343"/>
                    <a:gd name="T52" fmla="*/ 22 w 1543"/>
                    <a:gd name="T53" fmla="*/ 27 h 1343"/>
                    <a:gd name="T54" fmla="*/ 22 w 1543"/>
                    <a:gd name="T55" fmla="*/ 23 h 1343"/>
                    <a:gd name="T56" fmla="*/ 19 w 1543"/>
                    <a:gd name="T57" fmla="*/ 26 h 1343"/>
                    <a:gd name="T58" fmla="*/ 16 w 1543"/>
                    <a:gd name="T59" fmla="*/ 22 h 1343"/>
                    <a:gd name="T60" fmla="*/ 9 w 1543"/>
                    <a:gd name="T61" fmla="*/ 25 h 1343"/>
                    <a:gd name="T62" fmla="*/ 4 w 1543"/>
                    <a:gd name="T63" fmla="*/ 27 h 1343"/>
                    <a:gd name="T64" fmla="*/ 2 w 1543"/>
                    <a:gd name="T65" fmla="*/ 22 h 1343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1543"/>
                    <a:gd name="T100" fmla="*/ 0 h 1343"/>
                    <a:gd name="T101" fmla="*/ 1543 w 1543"/>
                    <a:gd name="T102" fmla="*/ 1343 h 1343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1543" h="1343">
                      <a:moveTo>
                        <a:pt x="0" y="708"/>
                      </a:moveTo>
                      <a:lnTo>
                        <a:pt x="25" y="718"/>
                      </a:lnTo>
                      <a:lnTo>
                        <a:pt x="9" y="678"/>
                      </a:lnTo>
                      <a:lnTo>
                        <a:pt x="41" y="701"/>
                      </a:lnTo>
                      <a:lnTo>
                        <a:pt x="9" y="622"/>
                      </a:lnTo>
                      <a:lnTo>
                        <a:pt x="31" y="505"/>
                      </a:lnTo>
                      <a:lnTo>
                        <a:pt x="39" y="536"/>
                      </a:lnTo>
                      <a:lnTo>
                        <a:pt x="135" y="442"/>
                      </a:lnTo>
                      <a:lnTo>
                        <a:pt x="296" y="399"/>
                      </a:lnTo>
                      <a:lnTo>
                        <a:pt x="352" y="330"/>
                      </a:lnTo>
                      <a:lnTo>
                        <a:pt x="349" y="285"/>
                      </a:lnTo>
                      <a:lnTo>
                        <a:pt x="369" y="252"/>
                      </a:lnTo>
                      <a:lnTo>
                        <a:pt x="393" y="304"/>
                      </a:lnTo>
                      <a:lnTo>
                        <a:pt x="393" y="248"/>
                      </a:lnTo>
                      <a:lnTo>
                        <a:pt x="432" y="260"/>
                      </a:lnTo>
                      <a:lnTo>
                        <a:pt x="436" y="218"/>
                      </a:lnTo>
                      <a:lnTo>
                        <a:pt x="492" y="150"/>
                      </a:lnTo>
                      <a:lnTo>
                        <a:pt x="552" y="154"/>
                      </a:lnTo>
                      <a:lnTo>
                        <a:pt x="563" y="221"/>
                      </a:lnTo>
                      <a:lnTo>
                        <a:pt x="588" y="183"/>
                      </a:lnTo>
                      <a:lnTo>
                        <a:pt x="631" y="204"/>
                      </a:lnTo>
                      <a:lnTo>
                        <a:pt x="616" y="160"/>
                      </a:lnTo>
                      <a:lnTo>
                        <a:pt x="655" y="89"/>
                      </a:lnTo>
                      <a:lnTo>
                        <a:pt x="743" y="62"/>
                      </a:lnTo>
                      <a:lnTo>
                        <a:pt x="719" y="18"/>
                      </a:lnTo>
                      <a:lnTo>
                        <a:pt x="893" y="73"/>
                      </a:lnTo>
                      <a:lnTo>
                        <a:pt x="856" y="194"/>
                      </a:lnTo>
                      <a:lnTo>
                        <a:pt x="1030" y="318"/>
                      </a:lnTo>
                      <a:lnTo>
                        <a:pt x="1073" y="267"/>
                      </a:lnTo>
                      <a:lnTo>
                        <a:pt x="1095" y="61"/>
                      </a:lnTo>
                      <a:lnTo>
                        <a:pt x="1135" y="0"/>
                      </a:lnTo>
                      <a:lnTo>
                        <a:pt x="1173" y="158"/>
                      </a:lnTo>
                      <a:lnTo>
                        <a:pt x="1231" y="194"/>
                      </a:lnTo>
                      <a:lnTo>
                        <a:pt x="1270" y="375"/>
                      </a:lnTo>
                      <a:lnTo>
                        <a:pt x="1363" y="433"/>
                      </a:lnTo>
                      <a:lnTo>
                        <a:pt x="1400" y="536"/>
                      </a:lnTo>
                      <a:lnTo>
                        <a:pt x="1432" y="529"/>
                      </a:lnTo>
                      <a:lnTo>
                        <a:pt x="1441" y="584"/>
                      </a:lnTo>
                      <a:lnTo>
                        <a:pt x="1518" y="663"/>
                      </a:lnTo>
                      <a:lnTo>
                        <a:pt x="1543" y="802"/>
                      </a:lnTo>
                      <a:lnTo>
                        <a:pt x="1524" y="942"/>
                      </a:lnTo>
                      <a:lnTo>
                        <a:pt x="1459" y="1059"/>
                      </a:lnTo>
                      <a:lnTo>
                        <a:pt x="1408" y="1261"/>
                      </a:lnTo>
                      <a:lnTo>
                        <a:pt x="1323" y="1282"/>
                      </a:lnTo>
                      <a:lnTo>
                        <a:pt x="1267" y="1320"/>
                      </a:lnTo>
                      <a:lnTo>
                        <a:pt x="1272" y="1343"/>
                      </a:lnTo>
                      <a:lnTo>
                        <a:pt x="1216" y="1276"/>
                      </a:lnTo>
                      <a:lnTo>
                        <a:pt x="1158" y="1324"/>
                      </a:lnTo>
                      <a:lnTo>
                        <a:pt x="1085" y="1304"/>
                      </a:lnTo>
                      <a:lnTo>
                        <a:pt x="1024" y="1253"/>
                      </a:lnTo>
                      <a:lnTo>
                        <a:pt x="1001" y="1153"/>
                      </a:lnTo>
                      <a:lnTo>
                        <a:pt x="955" y="1165"/>
                      </a:lnTo>
                      <a:lnTo>
                        <a:pt x="955" y="1096"/>
                      </a:lnTo>
                      <a:lnTo>
                        <a:pt x="939" y="1140"/>
                      </a:lnTo>
                      <a:lnTo>
                        <a:pt x="907" y="1143"/>
                      </a:lnTo>
                      <a:lnTo>
                        <a:pt x="940" y="1011"/>
                      </a:lnTo>
                      <a:lnTo>
                        <a:pt x="875" y="1135"/>
                      </a:lnTo>
                      <a:lnTo>
                        <a:pt x="843" y="1109"/>
                      </a:lnTo>
                      <a:lnTo>
                        <a:pt x="809" y="1012"/>
                      </a:lnTo>
                      <a:lnTo>
                        <a:pt x="694" y="959"/>
                      </a:lnTo>
                      <a:lnTo>
                        <a:pt x="490" y="998"/>
                      </a:lnTo>
                      <a:lnTo>
                        <a:pt x="404" y="1071"/>
                      </a:lnTo>
                      <a:lnTo>
                        <a:pt x="263" y="1075"/>
                      </a:lnTo>
                      <a:lnTo>
                        <a:pt x="182" y="1139"/>
                      </a:lnTo>
                      <a:lnTo>
                        <a:pt x="76" y="1094"/>
                      </a:lnTo>
                      <a:lnTo>
                        <a:pt x="100" y="966"/>
                      </a:lnTo>
                      <a:lnTo>
                        <a:pt x="0" y="70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" name="Freeform 324"/>
                <p:cNvSpPr/>
                <p:nvPr/>
              </p:nvSpPr>
              <p:spPr bwMode="auto">
                <a:xfrm>
                  <a:off x="3903883" y="4799005"/>
                  <a:ext cx="65704" cy="68421"/>
                </a:xfrm>
                <a:custGeom>
                  <a:avLst/>
                  <a:gdLst>
                    <a:gd name="T0" fmla="*/ 0 w 134"/>
                    <a:gd name="T1" fmla="*/ 1 h 150"/>
                    <a:gd name="T2" fmla="*/ 0 w 134"/>
                    <a:gd name="T3" fmla="*/ 0 h 150"/>
                    <a:gd name="T4" fmla="*/ 2 w 134"/>
                    <a:gd name="T5" fmla="*/ 1 h 150"/>
                    <a:gd name="T6" fmla="*/ 3 w 134"/>
                    <a:gd name="T7" fmla="*/ 0 h 150"/>
                    <a:gd name="T8" fmla="*/ 3 w 134"/>
                    <a:gd name="T9" fmla="*/ 1 h 150"/>
                    <a:gd name="T10" fmla="*/ 3 w 134"/>
                    <a:gd name="T11" fmla="*/ 2 h 150"/>
                    <a:gd name="T12" fmla="*/ 2 w 134"/>
                    <a:gd name="T13" fmla="*/ 3 h 150"/>
                    <a:gd name="T14" fmla="*/ 1 w 134"/>
                    <a:gd name="T15" fmla="*/ 3 h 150"/>
                    <a:gd name="T16" fmla="*/ 0 w 134"/>
                    <a:gd name="T17" fmla="*/ 1 h 15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34"/>
                    <a:gd name="T28" fmla="*/ 0 h 150"/>
                    <a:gd name="T29" fmla="*/ 134 w 134"/>
                    <a:gd name="T30" fmla="*/ 150 h 15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34" h="150">
                      <a:moveTo>
                        <a:pt x="0" y="25"/>
                      </a:moveTo>
                      <a:lnTo>
                        <a:pt x="1" y="0"/>
                      </a:lnTo>
                      <a:lnTo>
                        <a:pt x="67" y="20"/>
                      </a:lnTo>
                      <a:lnTo>
                        <a:pt x="121" y="2"/>
                      </a:lnTo>
                      <a:lnTo>
                        <a:pt x="134" y="40"/>
                      </a:lnTo>
                      <a:lnTo>
                        <a:pt x="134" y="86"/>
                      </a:lnTo>
                      <a:lnTo>
                        <a:pt x="83" y="150"/>
                      </a:lnTo>
                      <a:lnTo>
                        <a:pt x="50" y="147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" name="Freeform 325"/>
                <p:cNvSpPr/>
                <p:nvPr/>
              </p:nvSpPr>
              <p:spPr bwMode="auto">
                <a:xfrm>
                  <a:off x="1422286" y="2880044"/>
                  <a:ext cx="141517" cy="57282"/>
                </a:xfrm>
                <a:custGeom>
                  <a:avLst/>
                  <a:gdLst>
                    <a:gd name="T0" fmla="*/ 0 w 296"/>
                    <a:gd name="T1" fmla="*/ 2 h 128"/>
                    <a:gd name="T2" fmla="*/ 0 w 296"/>
                    <a:gd name="T3" fmla="*/ 2 h 128"/>
                    <a:gd name="T4" fmla="*/ 0 w 296"/>
                    <a:gd name="T5" fmla="*/ 2 h 128"/>
                    <a:gd name="T6" fmla="*/ 1 w 296"/>
                    <a:gd name="T7" fmla="*/ 2 h 128"/>
                    <a:gd name="T8" fmla="*/ 2 w 296"/>
                    <a:gd name="T9" fmla="*/ 2 h 128"/>
                    <a:gd name="T10" fmla="*/ 4 w 296"/>
                    <a:gd name="T11" fmla="*/ 3 h 128"/>
                    <a:gd name="T12" fmla="*/ 6 w 296"/>
                    <a:gd name="T13" fmla="*/ 2 h 128"/>
                    <a:gd name="T14" fmla="*/ 7 w 296"/>
                    <a:gd name="T15" fmla="*/ 1 h 128"/>
                    <a:gd name="T16" fmla="*/ 6 w 296"/>
                    <a:gd name="T17" fmla="*/ 0 h 128"/>
                    <a:gd name="T18" fmla="*/ 4 w 296"/>
                    <a:gd name="T19" fmla="*/ 0 h 128"/>
                    <a:gd name="T20" fmla="*/ 3 w 296"/>
                    <a:gd name="T21" fmla="*/ 2 h 128"/>
                    <a:gd name="T22" fmla="*/ 0 w 296"/>
                    <a:gd name="T23" fmla="*/ 2 h 12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96"/>
                    <a:gd name="T37" fmla="*/ 0 h 128"/>
                    <a:gd name="T38" fmla="*/ 296 w 296"/>
                    <a:gd name="T39" fmla="*/ 128 h 12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96" h="128">
                      <a:moveTo>
                        <a:pt x="0" y="71"/>
                      </a:moveTo>
                      <a:lnTo>
                        <a:pt x="7" y="78"/>
                      </a:lnTo>
                      <a:lnTo>
                        <a:pt x="8" y="100"/>
                      </a:lnTo>
                      <a:lnTo>
                        <a:pt x="41" y="106"/>
                      </a:lnTo>
                      <a:lnTo>
                        <a:pt x="99" y="93"/>
                      </a:lnTo>
                      <a:lnTo>
                        <a:pt x="166" y="128"/>
                      </a:lnTo>
                      <a:lnTo>
                        <a:pt x="257" y="105"/>
                      </a:lnTo>
                      <a:lnTo>
                        <a:pt x="296" y="37"/>
                      </a:lnTo>
                      <a:lnTo>
                        <a:pt x="279" y="0"/>
                      </a:lnTo>
                      <a:lnTo>
                        <a:pt x="167" y="1"/>
                      </a:lnTo>
                      <a:lnTo>
                        <a:pt x="132" y="70"/>
                      </a:lnTo>
                      <a:lnTo>
                        <a:pt x="0" y="7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" name="Freeform 326"/>
                <p:cNvSpPr/>
                <p:nvPr/>
              </p:nvSpPr>
              <p:spPr bwMode="auto">
                <a:xfrm>
                  <a:off x="2861040" y="3397177"/>
                  <a:ext cx="87606" cy="119338"/>
                </a:xfrm>
                <a:custGeom>
                  <a:avLst/>
                  <a:gdLst>
                    <a:gd name="T0" fmla="*/ 0 w 179"/>
                    <a:gd name="T1" fmla="*/ 2 h 262"/>
                    <a:gd name="T2" fmla="*/ 1 w 179"/>
                    <a:gd name="T3" fmla="*/ 3 h 262"/>
                    <a:gd name="T4" fmla="*/ 1 w 179"/>
                    <a:gd name="T5" fmla="*/ 5 h 262"/>
                    <a:gd name="T6" fmla="*/ 2 w 179"/>
                    <a:gd name="T7" fmla="*/ 5 h 262"/>
                    <a:gd name="T8" fmla="*/ 3 w 179"/>
                    <a:gd name="T9" fmla="*/ 4 h 262"/>
                    <a:gd name="T10" fmla="*/ 3 w 179"/>
                    <a:gd name="T11" fmla="*/ 4 h 262"/>
                    <a:gd name="T12" fmla="*/ 4 w 179"/>
                    <a:gd name="T13" fmla="*/ 6 h 262"/>
                    <a:gd name="T14" fmla="*/ 4 w 179"/>
                    <a:gd name="T15" fmla="*/ 5 h 262"/>
                    <a:gd name="T16" fmla="*/ 4 w 179"/>
                    <a:gd name="T17" fmla="*/ 3 h 262"/>
                    <a:gd name="T18" fmla="*/ 3 w 179"/>
                    <a:gd name="T19" fmla="*/ 4 h 262"/>
                    <a:gd name="T20" fmla="*/ 3 w 179"/>
                    <a:gd name="T21" fmla="*/ 3 h 262"/>
                    <a:gd name="T22" fmla="*/ 4 w 179"/>
                    <a:gd name="T23" fmla="*/ 1 h 262"/>
                    <a:gd name="T24" fmla="*/ 2 w 179"/>
                    <a:gd name="T25" fmla="*/ 1 h 262"/>
                    <a:gd name="T26" fmla="*/ 1 w 179"/>
                    <a:gd name="T27" fmla="*/ 0 h 262"/>
                    <a:gd name="T28" fmla="*/ 0 w 179"/>
                    <a:gd name="T29" fmla="*/ 1 h 262"/>
                    <a:gd name="T30" fmla="*/ 1 w 179"/>
                    <a:gd name="T31" fmla="*/ 1 h 262"/>
                    <a:gd name="T32" fmla="*/ 0 w 179"/>
                    <a:gd name="T33" fmla="*/ 2 h 26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179"/>
                    <a:gd name="T52" fmla="*/ 0 h 262"/>
                    <a:gd name="T53" fmla="*/ 179 w 179"/>
                    <a:gd name="T54" fmla="*/ 262 h 26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179" h="262">
                      <a:moveTo>
                        <a:pt x="0" y="78"/>
                      </a:moveTo>
                      <a:lnTo>
                        <a:pt x="23" y="105"/>
                      </a:lnTo>
                      <a:lnTo>
                        <a:pt x="37" y="227"/>
                      </a:lnTo>
                      <a:lnTo>
                        <a:pt x="86" y="220"/>
                      </a:lnTo>
                      <a:lnTo>
                        <a:pt x="109" y="168"/>
                      </a:lnTo>
                      <a:lnTo>
                        <a:pt x="144" y="178"/>
                      </a:lnTo>
                      <a:lnTo>
                        <a:pt x="165" y="262"/>
                      </a:lnTo>
                      <a:lnTo>
                        <a:pt x="179" y="214"/>
                      </a:lnTo>
                      <a:lnTo>
                        <a:pt x="162" y="130"/>
                      </a:lnTo>
                      <a:lnTo>
                        <a:pt x="144" y="164"/>
                      </a:lnTo>
                      <a:lnTo>
                        <a:pt x="119" y="120"/>
                      </a:lnTo>
                      <a:lnTo>
                        <a:pt x="164" y="67"/>
                      </a:lnTo>
                      <a:lnTo>
                        <a:pt x="79" y="59"/>
                      </a:lnTo>
                      <a:lnTo>
                        <a:pt x="21" y="0"/>
                      </a:lnTo>
                      <a:lnTo>
                        <a:pt x="6" y="32"/>
                      </a:lnTo>
                      <a:lnTo>
                        <a:pt x="24" y="59"/>
                      </a:lnTo>
                      <a:lnTo>
                        <a:pt x="0" y="7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" name="Freeform 327"/>
                <p:cNvSpPr/>
                <p:nvPr/>
              </p:nvSpPr>
              <p:spPr bwMode="auto">
                <a:xfrm>
                  <a:off x="1300986" y="2811623"/>
                  <a:ext cx="60650" cy="46144"/>
                </a:xfrm>
                <a:custGeom>
                  <a:avLst/>
                  <a:gdLst>
                    <a:gd name="T0" fmla="*/ 0 w 125"/>
                    <a:gd name="T1" fmla="*/ 1 h 104"/>
                    <a:gd name="T2" fmla="*/ 1 w 125"/>
                    <a:gd name="T3" fmla="*/ 0 h 104"/>
                    <a:gd name="T4" fmla="*/ 2 w 125"/>
                    <a:gd name="T5" fmla="*/ 0 h 104"/>
                    <a:gd name="T6" fmla="*/ 3 w 125"/>
                    <a:gd name="T7" fmla="*/ 1 h 104"/>
                    <a:gd name="T8" fmla="*/ 3 w 125"/>
                    <a:gd name="T9" fmla="*/ 2 h 104"/>
                    <a:gd name="T10" fmla="*/ 3 w 125"/>
                    <a:gd name="T11" fmla="*/ 2 h 104"/>
                    <a:gd name="T12" fmla="*/ 0 w 125"/>
                    <a:gd name="T13" fmla="*/ 1 h 10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25"/>
                    <a:gd name="T22" fmla="*/ 0 h 104"/>
                    <a:gd name="T23" fmla="*/ 125 w 125"/>
                    <a:gd name="T24" fmla="*/ 104 h 10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25" h="104">
                      <a:moveTo>
                        <a:pt x="0" y="20"/>
                      </a:moveTo>
                      <a:lnTo>
                        <a:pt x="27" y="5"/>
                      </a:lnTo>
                      <a:lnTo>
                        <a:pt x="84" y="0"/>
                      </a:lnTo>
                      <a:lnTo>
                        <a:pt x="122" y="42"/>
                      </a:lnTo>
                      <a:lnTo>
                        <a:pt x="125" y="74"/>
                      </a:lnTo>
                      <a:lnTo>
                        <a:pt x="112" y="104"/>
                      </a:lnTo>
                      <a:lnTo>
                        <a:pt x="0" y="2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" name="Freeform 328"/>
                <p:cNvSpPr/>
                <p:nvPr/>
              </p:nvSpPr>
              <p:spPr bwMode="auto">
                <a:xfrm>
                  <a:off x="2877887" y="3358989"/>
                  <a:ext cx="60650" cy="35006"/>
                </a:xfrm>
                <a:custGeom>
                  <a:avLst/>
                  <a:gdLst>
                    <a:gd name="T0" fmla="*/ 0 w 121"/>
                    <a:gd name="T1" fmla="*/ 1 h 75"/>
                    <a:gd name="T2" fmla="*/ 0 w 121"/>
                    <a:gd name="T3" fmla="*/ 2 h 75"/>
                    <a:gd name="T4" fmla="*/ 3 w 121"/>
                    <a:gd name="T5" fmla="*/ 1 h 75"/>
                    <a:gd name="T6" fmla="*/ 3 w 121"/>
                    <a:gd name="T7" fmla="*/ 1 h 75"/>
                    <a:gd name="T8" fmla="*/ 1 w 121"/>
                    <a:gd name="T9" fmla="*/ 0 h 75"/>
                    <a:gd name="T10" fmla="*/ 0 w 121"/>
                    <a:gd name="T11" fmla="*/ 1 h 7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21"/>
                    <a:gd name="T19" fmla="*/ 0 h 75"/>
                    <a:gd name="T20" fmla="*/ 121 w 121"/>
                    <a:gd name="T21" fmla="*/ 75 h 7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21" h="75">
                      <a:moveTo>
                        <a:pt x="0" y="46"/>
                      </a:moveTo>
                      <a:lnTo>
                        <a:pt x="16" y="75"/>
                      </a:lnTo>
                      <a:lnTo>
                        <a:pt x="121" y="63"/>
                      </a:lnTo>
                      <a:lnTo>
                        <a:pt x="112" y="22"/>
                      </a:lnTo>
                      <a:lnTo>
                        <a:pt x="40" y="0"/>
                      </a:lnTo>
                      <a:lnTo>
                        <a:pt x="0" y="4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Freeform 329"/>
                <p:cNvSpPr/>
                <p:nvPr/>
              </p:nvSpPr>
              <p:spPr bwMode="auto">
                <a:xfrm>
                  <a:off x="3341186" y="3837933"/>
                  <a:ext cx="21901" cy="20685"/>
                </a:xfrm>
                <a:custGeom>
                  <a:avLst/>
                  <a:gdLst>
                    <a:gd name="T0" fmla="*/ 0 w 47"/>
                    <a:gd name="T1" fmla="*/ 1 h 46"/>
                    <a:gd name="T2" fmla="*/ 1 w 47"/>
                    <a:gd name="T3" fmla="*/ 1 h 46"/>
                    <a:gd name="T4" fmla="*/ 1 w 47"/>
                    <a:gd name="T5" fmla="*/ 0 h 46"/>
                    <a:gd name="T6" fmla="*/ 0 w 47"/>
                    <a:gd name="T7" fmla="*/ 1 h 4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7"/>
                    <a:gd name="T13" fmla="*/ 0 h 46"/>
                    <a:gd name="T14" fmla="*/ 47 w 47"/>
                    <a:gd name="T15" fmla="*/ 46 h 4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7" h="46">
                      <a:moveTo>
                        <a:pt x="0" y="21"/>
                      </a:moveTo>
                      <a:lnTo>
                        <a:pt x="22" y="46"/>
                      </a:lnTo>
                      <a:lnTo>
                        <a:pt x="47" y="0"/>
                      </a:lnTo>
                      <a:lnTo>
                        <a:pt x="0" y="2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7" name="Freeform 330"/>
                <p:cNvSpPr/>
                <p:nvPr/>
              </p:nvSpPr>
              <p:spPr bwMode="auto">
                <a:xfrm>
                  <a:off x="1661517" y="2993018"/>
                  <a:ext cx="112876" cy="71603"/>
                </a:xfrm>
                <a:custGeom>
                  <a:avLst/>
                  <a:gdLst>
                    <a:gd name="T0" fmla="*/ 0 w 237"/>
                    <a:gd name="T1" fmla="*/ 3 h 156"/>
                    <a:gd name="T2" fmla="*/ 0 w 237"/>
                    <a:gd name="T3" fmla="*/ 0 h 156"/>
                    <a:gd name="T4" fmla="*/ 5 w 237"/>
                    <a:gd name="T5" fmla="*/ 1 h 156"/>
                    <a:gd name="T6" fmla="*/ 5 w 237"/>
                    <a:gd name="T7" fmla="*/ 2 h 156"/>
                    <a:gd name="T8" fmla="*/ 5 w 237"/>
                    <a:gd name="T9" fmla="*/ 3 h 156"/>
                    <a:gd name="T10" fmla="*/ 3 w 237"/>
                    <a:gd name="T11" fmla="*/ 3 h 156"/>
                    <a:gd name="T12" fmla="*/ 3 w 237"/>
                    <a:gd name="T13" fmla="*/ 4 h 156"/>
                    <a:gd name="T14" fmla="*/ 1 w 237"/>
                    <a:gd name="T15" fmla="*/ 4 h 156"/>
                    <a:gd name="T16" fmla="*/ 0 w 237"/>
                    <a:gd name="T17" fmla="*/ 3 h 15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37"/>
                    <a:gd name="T28" fmla="*/ 0 h 156"/>
                    <a:gd name="T29" fmla="*/ 237 w 237"/>
                    <a:gd name="T30" fmla="*/ 156 h 15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37" h="156">
                      <a:moveTo>
                        <a:pt x="0" y="107"/>
                      </a:moveTo>
                      <a:lnTo>
                        <a:pt x="13" y="0"/>
                      </a:lnTo>
                      <a:lnTo>
                        <a:pt x="237" y="24"/>
                      </a:lnTo>
                      <a:lnTo>
                        <a:pt x="197" y="91"/>
                      </a:lnTo>
                      <a:lnTo>
                        <a:pt x="213" y="126"/>
                      </a:lnTo>
                      <a:lnTo>
                        <a:pt x="154" y="130"/>
                      </a:lnTo>
                      <a:lnTo>
                        <a:pt x="119" y="156"/>
                      </a:lnTo>
                      <a:lnTo>
                        <a:pt x="24" y="153"/>
                      </a:lnTo>
                      <a:lnTo>
                        <a:pt x="0" y="10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" name="Freeform 331"/>
                <p:cNvSpPr/>
                <p:nvPr/>
              </p:nvSpPr>
              <p:spPr bwMode="auto">
                <a:xfrm>
                  <a:off x="2940222" y="3363762"/>
                  <a:ext cx="166788" cy="372336"/>
                </a:xfrm>
                <a:custGeom>
                  <a:avLst/>
                  <a:gdLst>
                    <a:gd name="T0" fmla="*/ 0 w 345"/>
                    <a:gd name="T1" fmla="*/ 8 h 822"/>
                    <a:gd name="T2" fmla="*/ 0 w 345"/>
                    <a:gd name="T3" fmla="*/ 7 h 822"/>
                    <a:gd name="T4" fmla="*/ 3 w 345"/>
                    <a:gd name="T5" fmla="*/ 2 h 822"/>
                    <a:gd name="T6" fmla="*/ 4 w 345"/>
                    <a:gd name="T7" fmla="*/ 1 h 822"/>
                    <a:gd name="T8" fmla="*/ 5 w 345"/>
                    <a:gd name="T9" fmla="*/ 0 h 822"/>
                    <a:gd name="T10" fmla="*/ 6 w 345"/>
                    <a:gd name="T11" fmla="*/ 1 h 822"/>
                    <a:gd name="T12" fmla="*/ 6 w 345"/>
                    <a:gd name="T13" fmla="*/ 2 h 822"/>
                    <a:gd name="T14" fmla="*/ 5 w 345"/>
                    <a:gd name="T15" fmla="*/ 5 h 822"/>
                    <a:gd name="T16" fmla="*/ 6 w 345"/>
                    <a:gd name="T17" fmla="*/ 4 h 822"/>
                    <a:gd name="T18" fmla="*/ 6 w 345"/>
                    <a:gd name="T19" fmla="*/ 6 h 822"/>
                    <a:gd name="T20" fmla="*/ 8 w 345"/>
                    <a:gd name="T21" fmla="*/ 7 h 822"/>
                    <a:gd name="T22" fmla="*/ 7 w 345"/>
                    <a:gd name="T23" fmla="*/ 8 h 822"/>
                    <a:gd name="T24" fmla="*/ 5 w 345"/>
                    <a:gd name="T25" fmla="*/ 9 h 822"/>
                    <a:gd name="T26" fmla="*/ 5 w 345"/>
                    <a:gd name="T27" fmla="*/ 11 h 822"/>
                    <a:gd name="T28" fmla="*/ 6 w 345"/>
                    <a:gd name="T29" fmla="*/ 13 h 822"/>
                    <a:gd name="T30" fmla="*/ 5 w 345"/>
                    <a:gd name="T31" fmla="*/ 14 h 822"/>
                    <a:gd name="T32" fmla="*/ 7 w 345"/>
                    <a:gd name="T33" fmla="*/ 17 h 822"/>
                    <a:gd name="T34" fmla="*/ 6 w 345"/>
                    <a:gd name="T35" fmla="*/ 19 h 822"/>
                    <a:gd name="T36" fmla="*/ 5 w 345"/>
                    <a:gd name="T37" fmla="*/ 13 h 822"/>
                    <a:gd name="T38" fmla="*/ 4 w 345"/>
                    <a:gd name="T39" fmla="*/ 11 h 822"/>
                    <a:gd name="T40" fmla="*/ 3 w 345"/>
                    <a:gd name="T41" fmla="*/ 13 h 822"/>
                    <a:gd name="T42" fmla="*/ 2 w 345"/>
                    <a:gd name="T43" fmla="*/ 13 h 822"/>
                    <a:gd name="T44" fmla="*/ 2 w 345"/>
                    <a:gd name="T45" fmla="*/ 11 h 822"/>
                    <a:gd name="T46" fmla="*/ 0 w 345"/>
                    <a:gd name="T47" fmla="*/ 8 h 82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345"/>
                    <a:gd name="T73" fmla="*/ 0 h 822"/>
                    <a:gd name="T74" fmla="*/ 345 w 345"/>
                    <a:gd name="T75" fmla="*/ 822 h 82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345" h="822">
                      <a:moveTo>
                        <a:pt x="0" y="337"/>
                      </a:moveTo>
                      <a:lnTo>
                        <a:pt x="14" y="289"/>
                      </a:lnTo>
                      <a:lnTo>
                        <a:pt x="114" y="76"/>
                      </a:lnTo>
                      <a:lnTo>
                        <a:pt x="181" y="48"/>
                      </a:lnTo>
                      <a:lnTo>
                        <a:pt x="196" y="0"/>
                      </a:lnTo>
                      <a:lnTo>
                        <a:pt x="247" y="27"/>
                      </a:lnTo>
                      <a:lnTo>
                        <a:pt x="247" y="71"/>
                      </a:lnTo>
                      <a:lnTo>
                        <a:pt x="204" y="201"/>
                      </a:lnTo>
                      <a:lnTo>
                        <a:pt x="249" y="190"/>
                      </a:lnTo>
                      <a:lnTo>
                        <a:pt x="273" y="278"/>
                      </a:lnTo>
                      <a:lnTo>
                        <a:pt x="345" y="302"/>
                      </a:lnTo>
                      <a:lnTo>
                        <a:pt x="309" y="345"/>
                      </a:lnTo>
                      <a:lnTo>
                        <a:pt x="226" y="401"/>
                      </a:lnTo>
                      <a:lnTo>
                        <a:pt x="204" y="454"/>
                      </a:lnTo>
                      <a:lnTo>
                        <a:pt x="249" y="552"/>
                      </a:lnTo>
                      <a:lnTo>
                        <a:pt x="233" y="612"/>
                      </a:lnTo>
                      <a:lnTo>
                        <a:pt x="287" y="742"/>
                      </a:lnTo>
                      <a:lnTo>
                        <a:pt x="247" y="822"/>
                      </a:lnTo>
                      <a:lnTo>
                        <a:pt x="207" y="540"/>
                      </a:lnTo>
                      <a:lnTo>
                        <a:pt x="173" y="497"/>
                      </a:lnTo>
                      <a:lnTo>
                        <a:pt x="118" y="571"/>
                      </a:lnTo>
                      <a:lnTo>
                        <a:pt x="78" y="556"/>
                      </a:lnTo>
                      <a:lnTo>
                        <a:pt x="86" y="455"/>
                      </a:lnTo>
                      <a:lnTo>
                        <a:pt x="0" y="33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" name="Freeform 332"/>
                <p:cNvSpPr/>
                <p:nvPr/>
              </p:nvSpPr>
              <p:spPr bwMode="auto">
                <a:xfrm>
                  <a:off x="3130595" y="3643810"/>
                  <a:ext cx="90975" cy="85924"/>
                </a:xfrm>
                <a:custGeom>
                  <a:avLst/>
                  <a:gdLst>
                    <a:gd name="T0" fmla="*/ 0 w 190"/>
                    <a:gd name="T1" fmla="*/ 1 h 190"/>
                    <a:gd name="T2" fmla="*/ 0 w 190"/>
                    <a:gd name="T3" fmla="*/ 3 h 190"/>
                    <a:gd name="T4" fmla="*/ 1 w 190"/>
                    <a:gd name="T5" fmla="*/ 4 h 190"/>
                    <a:gd name="T6" fmla="*/ 2 w 190"/>
                    <a:gd name="T7" fmla="*/ 4 h 190"/>
                    <a:gd name="T8" fmla="*/ 4 w 190"/>
                    <a:gd name="T9" fmla="*/ 2 h 190"/>
                    <a:gd name="T10" fmla="*/ 4 w 190"/>
                    <a:gd name="T11" fmla="*/ 0 h 190"/>
                    <a:gd name="T12" fmla="*/ 2 w 190"/>
                    <a:gd name="T13" fmla="*/ 0 h 190"/>
                    <a:gd name="T14" fmla="*/ 1 w 190"/>
                    <a:gd name="T15" fmla="*/ 0 h 190"/>
                    <a:gd name="T16" fmla="*/ 0 w 190"/>
                    <a:gd name="T17" fmla="*/ 1 h 19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90"/>
                    <a:gd name="T28" fmla="*/ 0 h 190"/>
                    <a:gd name="T29" fmla="*/ 190 w 190"/>
                    <a:gd name="T30" fmla="*/ 190 h 190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90" h="190">
                      <a:moveTo>
                        <a:pt x="0" y="37"/>
                      </a:moveTo>
                      <a:lnTo>
                        <a:pt x="12" y="132"/>
                      </a:lnTo>
                      <a:lnTo>
                        <a:pt x="39" y="182"/>
                      </a:lnTo>
                      <a:lnTo>
                        <a:pt x="73" y="190"/>
                      </a:lnTo>
                      <a:lnTo>
                        <a:pt x="190" y="102"/>
                      </a:lnTo>
                      <a:lnTo>
                        <a:pt x="187" y="0"/>
                      </a:lnTo>
                      <a:lnTo>
                        <a:pt x="101" y="16"/>
                      </a:lnTo>
                      <a:lnTo>
                        <a:pt x="25" y="13"/>
                      </a:lnTo>
                      <a:lnTo>
                        <a:pt x="0" y="3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" name="Freeform 333"/>
                <p:cNvSpPr/>
                <p:nvPr/>
              </p:nvSpPr>
              <p:spPr bwMode="auto">
                <a:xfrm>
                  <a:off x="2714469" y="3742463"/>
                  <a:ext cx="33694" cy="76377"/>
                </a:xfrm>
                <a:custGeom>
                  <a:avLst/>
                  <a:gdLst>
                    <a:gd name="T0" fmla="*/ 0 w 72"/>
                    <a:gd name="T1" fmla="*/ 0 h 166"/>
                    <a:gd name="T2" fmla="*/ 0 w 72"/>
                    <a:gd name="T3" fmla="*/ 4 h 166"/>
                    <a:gd name="T4" fmla="*/ 2 w 72"/>
                    <a:gd name="T5" fmla="*/ 3 h 166"/>
                    <a:gd name="T6" fmla="*/ 1 w 72"/>
                    <a:gd name="T7" fmla="*/ 1 h 166"/>
                    <a:gd name="T8" fmla="*/ 0 w 72"/>
                    <a:gd name="T9" fmla="*/ 0 h 1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2"/>
                    <a:gd name="T16" fmla="*/ 0 h 166"/>
                    <a:gd name="T17" fmla="*/ 72 w 72"/>
                    <a:gd name="T18" fmla="*/ 166 h 1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2" h="166">
                      <a:moveTo>
                        <a:pt x="0" y="0"/>
                      </a:moveTo>
                      <a:lnTo>
                        <a:pt x="13" y="166"/>
                      </a:lnTo>
                      <a:lnTo>
                        <a:pt x="72" y="138"/>
                      </a:lnTo>
                      <a:lnTo>
                        <a:pt x="45" y="4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" name="Freeform 334"/>
                <p:cNvSpPr/>
                <p:nvPr/>
              </p:nvSpPr>
              <p:spPr bwMode="auto">
                <a:xfrm>
                  <a:off x="2599908" y="2755932"/>
                  <a:ext cx="1123710" cy="773313"/>
                </a:xfrm>
                <a:custGeom>
                  <a:avLst/>
                  <a:gdLst>
                    <a:gd name="T0" fmla="*/ 0 w 2339"/>
                    <a:gd name="T1" fmla="*/ 17 h 1707"/>
                    <a:gd name="T2" fmla="*/ 6 w 2339"/>
                    <a:gd name="T3" fmla="*/ 15 h 1707"/>
                    <a:gd name="T4" fmla="*/ 5 w 2339"/>
                    <a:gd name="T5" fmla="*/ 11 h 1707"/>
                    <a:gd name="T6" fmla="*/ 8 w 2339"/>
                    <a:gd name="T7" fmla="*/ 8 h 1707"/>
                    <a:gd name="T8" fmla="*/ 11 w 2339"/>
                    <a:gd name="T9" fmla="*/ 7 h 1707"/>
                    <a:gd name="T10" fmla="*/ 13 w 2339"/>
                    <a:gd name="T11" fmla="*/ 7 h 1707"/>
                    <a:gd name="T12" fmla="*/ 15 w 2339"/>
                    <a:gd name="T13" fmla="*/ 11 h 1707"/>
                    <a:gd name="T14" fmla="*/ 21 w 2339"/>
                    <a:gd name="T15" fmla="*/ 14 h 1707"/>
                    <a:gd name="T16" fmla="*/ 28 w 2339"/>
                    <a:gd name="T17" fmla="*/ 15 h 1707"/>
                    <a:gd name="T18" fmla="*/ 34 w 2339"/>
                    <a:gd name="T19" fmla="*/ 13 h 1707"/>
                    <a:gd name="T20" fmla="*/ 35 w 2339"/>
                    <a:gd name="T21" fmla="*/ 11 h 1707"/>
                    <a:gd name="T22" fmla="*/ 40 w 2339"/>
                    <a:gd name="T23" fmla="*/ 9 h 1707"/>
                    <a:gd name="T24" fmla="*/ 37 w 2339"/>
                    <a:gd name="T25" fmla="*/ 8 h 1707"/>
                    <a:gd name="T26" fmla="*/ 38 w 2339"/>
                    <a:gd name="T27" fmla="*/ 5 h 1707"/>
                    <a:gd name="T28" fmla="*/ 40 w 2339"/>
                    <a:gd name="T29" fmla="*/ 5 h 1707"/>
                    <a:gd name="T30" fmla="*/ 41 w 2339"/>
                    <a:gd name="T31" fmla="*/ 1 h 1707"/>
                    <a:gd name="T32" fmla="*/ 46 w 2339"/>
                    <a:gd name="T33" fmla="*/ 1 h 1707"/>
                    <a:gd name="T34" fmla="*/ 50 w 2339"/>
                    <a:gd name="T35" fmla="*/ 6 h 1707"/>
                    <a:gd name="T36" fmla="*/ 54 w 2339"/>
                    <a:gd name="T37" fmla="*/ 7 h 1707"/>
                    <a:gd name="T38" fmla="*/ 51 w 2339"/>
                    <a:gd name="T39" fmla="*/ 12 h 1707"/>
                    <a:gd name="T40" fmla="*/ 50 w 2339"/>
                    <a:gd name="T41" fmla="*/ 14 h 1707"/>
                    <a:gd name="T42" fmla="*/ 48 w 2339"/>
                    <a:gd name="T43" fmla="*/ 15 h 1707"/>
                    <a:gd name="T44" fmla="*/ 47 w 2339"/>
                    <a:gd name="T45" fmla="*/ 15 h 1707"/>
                    <a:gd name="T46" fmla="*/ 42 w 2339"/>
                    <a:gd name="T47" fmla="*/ 19 h 1707"/>
                    <a:gd name="T48" fmla="*/ 42 w 2339"/>
                    <a:gd name="T49" fmla="*/ 16 h 1707"/>
                    <a:gd name="T50" fmla="*/ 39 w 2339"/>
                    <a:gd name="T51" fmla="*/ 19 h 1707"/>
                    <a:gd name="T52" fmla="*/ 42 w 2339"/>
                    <a:gd name="T53" fmla="*/ 20 h 1707"/>
                    <a:gd name="T54" fmla="*/ 41 w 2339"/>
                    <a:gd name="T55" fmla="*/ 22 h 1707"/>
                    <a:gd name="T56" fmla="*/ 43 w 2339"/>
                    <a:gd name="T57" fmla="*/ 27 h 1707"/>
                    <a:gd name="T58" fmla="*/ 43 w 2339"/>
                    <a:gd name="T59" fmla="*/ 28 h 1707"/>
                    <a:gd name="T60" fmla="*/ 43 w 2339"/>
                    <a:gd name="T61" fmla="*/ 29 h 1707"/>
                    <a:gd name="T62" fmla="*/ 38 w 2339"/>
                    <a:gd name="T63" fmla="*/ 36 h 1707"/>
                    <a:gd name="T64" fmla="*/ 36 w 2339"/>
                    <a:gd name="T65" fmla="*/ 37 h 1707"/>
                    <a:gd name="T66" fmla="*/ 35 w 2339"/>
                    <a:gd name="T67" fmla="*/ 38 h 1707"/>
                    <a:gd name="T68" fmla="*/ 32 w 2339"/>
                    <a:gd name="T69" fmla="*/ 39 h 1707"/>
                    <a:gd name="T70" fmla="*/ 30 w 2339"/>
                    <a:gd name="T71" fmla="*/ 38 h 1707"/>
                    <a:gd name="T72" fmla="*/ 25 w 2339"/>
                    <a:gd name="T73" fmla="*/ 37 h 1707"/>
                    <a:gd name="T74" fmla="*/ 25 w 2339"/>
                    <a:gd name="T75" fmla="*/ 38 h 1707"/>
                    <a:gd name="T76" fmla="*/ 23 w 2339"/>
                    <a:gd name="T77" fmla="*/ 37 h 1707"/>
                    <a:gd name="T78" fmla="*/ 21 w 2339"/>
                    <a:gd name="T79" fmla="*/ 36 h 1707"/>
                    <a:gd name="T80" fmla="*/ 22 w 2339"/>
                    <a:gd name="T81" fmla="*/ 32 h 1707"/>
                    <a:gd name="T82" fmla="*/ 20 w 2339"/>
                    <a:gd name="T83" fmla="*/ 30 h 1707"/>
                    <a:gd name="T84" fmla="*/ 16 w 2339"/>
                    <a:gd name="T85" fmla="*/ 31 h 1707"/>
                    <a:gd name="T86" fmla="*/ 13 w 2339"/>
                    <a:gd name="T87" fmla="*/ 32 h 1707"/>
                    <a:gd name="T88" fmla="*/ 13 w 2339"/>
                    <a:gd name="T89" fmla="*/ 31 h 1707"/>
                    <a:gd name="T90" fmla="*/ 9 w 2339"/>
                    <a:gd name="T91" fmla="*/ 30 h 1707"/>
                    <a:gd name="T92" fmla="*/ 5 w 2339"/>
                    <a:gd name="T93" fmla="*/ 28 h 1707"/>
                    <a:gd name="T94" fmla="*/ 5 w 2339"/>
                    <a:gd name="T95" fmla="*/ 26 h 1707"/>
                    <a:gd name="T96" fmla="*/ 6 w 2339"/>
                    <a:gd name="T97" fmla="*/ 23 h 1707"/>
                    <a:gd name="T98" fmla="*/ 3 w 2339"/>
                    <a:gd name="T99" fmla="*/ 23 h 1707"/>
                    <a:gd name="T100" fmla="*/ 1 w 2339"/>
                    <a:gd name="T101" fmla="*/ 20 h 1707"/>
                    <a:gd name="T102" fmla="*/ 0 w 2339"/>
                    <a:gd name="T103" fmla="*/ 19 h 1707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2339"/>
                    <a:gd name="T157" fmla="*/ 0 h 1707"/>
                    <a:gd name="T158" fmla="*/ 2339 w 2339"/>
                    <a:gd name="T159" fmla="*/ 1707 h 1707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2339" h="1707">
                      <a:moveTo>
                        <a:pt x="0" y="812"/>
                      </a:moveTo>
                      <a:lnTo>
                        <a:pt x="15" y="747"/>
                      </a:lnTo>
                      <a:lnTo>
                        <a:pt x="98" y="730"/>
                      </a:lnTo>
                      <a:lnTo>
                        <a:pt x="245" y="642"/>
                      </a:lnTo>
                      <a:lnTo>
                        <a:pt x="267" y="572"/>
                      </a:lnTo>
                      <a:lnTo>
                        <a:pt x="238" y="491"/>
                      </a:lnTo>
                      <a:lnTo>
                        <a:pt x="331" y="469"/>
                      </a:lnTo>
                      <a:lnTo>
                        <a:pt x="357" y="362"/>
                      </a:lnTo>
                      <a:lnTo>
                        <a:pt x="454" y="368"/>
                      </a:lnTo>
                      <a:lnTo>
                        <a:pt x="465" y="299"/>
                      </a:lnTo>
                      <a:lnTo>
                        <a:pt x="539" y="264"/>
                      </a:lnTo>
                      <a:lnTo>
                        <a:pt x="578" y="322"/>
                      </a:lnTo>
                      <a:lnTo>
                        <a:pt x="633" y="345"/>
                      </a:lnTo>
                      <a:lnTo>
                        <a:pt x="652" y="469"/>
                      </a:lnTo>
                      <a:lnTo>
                        <a:pt x="821" y="519"/>
                      </a:lnTo>
                      <a:lnTo>
                        <a:pt x="892" y="606"/>
                      </a:lnTo>
                      <a:lnTo>
                        <a:pt x="1033" y="602"/>
                      </a:lnTo>
                      <a:lnTo>
                        <a:pt x="1190" y="667"/>
                      </a:lnTo>
                      <a:lnTo>
                        <a:pt x="1395" y="606"/>
                      </a:lnTo>
                      <a:lnTo>
                        <a:pt x="1459" y="557"/>
                      </a:lnTo>
                      <a:lnTo>
                        <a:pt x="1459" y="488"/>
                      </a:lnTo>
                      <a:lnTo>
                        <a:pt x="1518" y="496"/>
                      </a:lnTo>
                      <a:lnTo>
                        <a:pt x="1649" y="398"/>
                      </a:lnTo>
                      <a:lnTo>
                        <a:pt x="1748" y="392"/>
                      </a:lnTo>
                      <a:lnTo>
                        <a:pt x="1701" y="318"/>
                      </a:lnTo>
                      <a:lnTo>
                        <a:pt x="1604" y="337"/>
                      </a:lnTo>
                      <a:lnTo>
                        <a:pt x="1603" y="254"/>
                      </a:lnTo>
                      <a:lnTo>
                        <a:pt x="1627" y="207"/>
                      </a:lnTo>
                      <a:lnTo>
                        <a:pt x="1684" y="234"/>
                      </a:lnTo>
                      <a:lnTo>
                        <a:pt x="1738" y="204"/>
                      </a:lnTo>
                      <a:lnTo>
                        <a:pt x="1795" y="92"/>
                      </a:lnTo>
                      <a:lnTo>
                        <a:pt x="1770" y="51"/>
                      </a:lnTo>
                      <a:lnTo>
                        <a:pt x="1908" y="0"/>
                      </a:lnTo>
                      <a:lnTo>
                        <a:pt x="1986" y="35"/>
                      </a:lnTo>
                      <a:lnTo>
                        <a:pt x="2056" y="224"/>
                      </a:lnTo>
                      <a:lnTo>
                        <a:pt x="2173" y="266"/>
                      </a:lnTo>
                      <a:lnTo>
                        <a:pt x="2193" y="335"/>
                      </a:lnTo>
                      <a:lnTo>
                        <a:pt x="2339" y="291"/>
                      </a:lnTo>
                      <a:lnTo>
                        <a:pt x="2270" y="475"/>
                      </a:lnTo>
                      <a:lnTo>
                        <a:pt x="2185" y="503"/>
                      </a:lnTo>
                      <a:lnTo>
                        <a:pt x="2198" y="572"/>
                      </a:lnTo>
                      <a:lnTo>
                        <a:pt x="2173" y="615"/>
                      </a:lnTo>
                      <a:lnTo>
                        <a:pt x="2159" y="602"/>
                      </a:lnTo>
                      <a:lnTo>
                        <a:pt x="2083" y="652"/>
                      </a:lnTo>
                      <a:lnTo>
                        <a:pt x="2083" y="679"/>
                      </a:lnTo>
                      <a:lnTo>
                        <a:pt x="2030" y="670"/>
                      </a:lnTo>
                      <a:lnTo>
                        <a:pt x="1936" y="753"/>
                      </a:lnTo>
                      <a:lnTo>
                        <a:pt x="1819" y="820"/>
                      </a:lnTo>
                      <a:lnTo>
                        <a:pt x="1857" y="730"/>
                      </a:lnTo>
                      <a:lnTo>
                        <a:pt x="1838" y="701"/>
                      </a:lnTo>
                      <a:lnTo>
                        <a:pt x="1684" y="801"/>
                      </a:lnTo>
                      <a:lnTo>
                        <a:pt x="1681" y="829"/>
                      </a:lnTo>
                      <a:lnTo>
                        <a:pt x="1732" y="894"/>
                      </a:lnTo>
                      <a:lnTo>
                        <a:pt x="1800" y="866"/>
                      </a:lnTo>
                      <a:lnTo>
                        <a:pt x="1869" y="890"/>
                      </a:lnTo>
                      <a:lnTo>
                        <a:pt x="1777" y="941"/>
                      </a:lnTo>
                      <a:lnTo>
                        <a:pt x="1739" y="1013"/>
                      </a:lnTo>
                      <a:lnTo>
                        <a:pt x="1841" y="1167"/>
                      </a:lnTo>
                      <a:lnTo>
                        <a:pt x="1773" y="1154"/>
                      </a:lnTo>
                      <a:lnTo>
                        <a:pt x="1841" y="1208"/>
                      </a:lnTo>
                      <a:lnTo>
                        <a:pt x="1776" y="1240"/>
                      </a:lnTo>
                      <a:lnTo>
                        <a:pt x="1846" y="1255"/>
                      </a:lnTo>
                      <a:lnTo>
                        <a:pt x="1716" y="1504"/>
                      </a:lnTo>
                      <a:lnTo>
                        <a:pt x="1630" y="1579"/>
                      </a:lnTo>
                      <a:lnTo>
                        <a:pt x="1546" y="1602"/>
                      </a:lnTo>
                      <a:lnTo>
                        <a:pt x="1540" y="1603"/>
                      </a:lnTo>
                      <a:lnTo>
                        <a:pt x="1518" y="1589"/>
                      </a:lnTo>
                      <a:lnTo>
                        <a:pt x="1498" y="1629"/>
                      </a:lnTo>
                      <a:lnTo>
                        <a:pt x="1399" y="1654"/>
                      </a:lnTo>
                      <a:lnTo>
                        <a:pt x="1390" y="1707"/>
                      </a:lnTo>
                      <a:lnTo>
                        <a:pt x="1373" y="1643"/>
                      </a:lnTo>
                      <a:lnTo>
                        <a:pt x="1306" y="1648"/>
                      </a:lnTo>
                      <a:lnTo>
                        <a:pt x="1204" y="1572"/>
                      </a:lnTo>
                      <a:lnTo>
                        <a:pt x="1089" y="1606"/>
                      </a:lnTo>
                      <a:lnTo>
                        <a:pt x="1066" y="1607"/>
                      </a:lnTo>
                      <a:lnTo>
                        <a:pt x="1068" y="1654"/>
                      </a:lnTo>
                      <a:lnTo>
                        <a:pt x="1052" y="1642"/>
                      </a:lnTo>
                      <a:lnTo>
                        <a:pt x="980" y="1618"/>
                      </a:lnTo>
                      <a:lnTo>
                        <a:pt x="956" y="1530"/>
                      </a:lnTo>
                      <a:lnTo>
                        <a:pt x="911" y="1541"/>
                      </a:lnTo>
                      <a:lnTo>
                        <a:pt x="954" y="1411"/>
                      </a:lnTo>
                      <a:lnTo>
                        <a:pt x="954" y="1367"/>
                      </a:lnTo>
                      <a:lnTo>
                        <a:pt x="903" y="1340"/>
                      </a:lnTo>
                      <a:lnTo>
                        <a:pt x="864" y="1322"/>
                      </a:lnTo>
                      <a:lnTo>
                        <a:pt x="852" y="1273"/>
                      </a:lnTo>
                      <a:lnTo>
                        <a:pt x="691" y="1354"/>
                      </a:lnTo>
                      <a:lnTo>
                        <a:pt x="619" y="1332"/>
                      </a:lnTo>
                      <a:lnTo>
                        <a:pt x="579" y="1378"/>
                      </a:lnTo>
                      <a:lnTo>
                        <a:pt x="574" y="1345"/>
                      </a:lnTo>
                      <a:lnTo>
                        <a:pt x="549" y="1353"/>
                      </a:lnTo>
                      <a:lnTo>
                        <a:pt x="467" y="1353"/>
                      </a:lnTo>
                      <a:lnTo>
                        <a:pt x="402" y="1282"/>
                      </a:lnTo>
                      <a:lnTo>
                        <a:pt x="283" y="1236"/>
                      </a:lnTo>
                      <a:lnTo>
                        <a:pt x="201" y="1205"/>
                      </a:lnTo>
                      <a:lnTo>
                        <a:pt x="184" y="1128"/>
                      </a:lnTo>
                      <a:lnTo>
                        <a:pt x="223" y="1119"/>
                      </a:lnTo>
                      <a:lnTo>
                        <a:pt x="199" y="1056"/>
                      </a:lnTo>
                      <a:lnTo>
                        <a:pt x="252" y="983"/>
                      </a:lnTo>
                      <a:lnTo>
                        <a:pt x="212" y="958"/>
                      </a:lnTo>
                      <a:lnTo>
                        <a:pt x="150" y="985"/>
                      </a:lnTo>
                      <a:lnTo>
                        <a:pt x="38" y="901"/>
                      </a:lnTo>
                      <a:lnTo>
                        <a:pt x="42" y="890"/>
                      </a:lnTo>
                      <a:lnTo>
                        <a:pt x="42" y="830"/>
                      </a:lnTo>
                      <a:lnTo>
                        <a:pt x="0" y="81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" name="Freeform 335"/>
                <p:cNvSpPr/>
                <p:nvPr/>
              </p:nvSpPr>
              <p:spPr bwMode="auto">
                <a:xfrm>
                  <a:off x="3245157" y="3535609"/>
                  <a:ext cx="40433" cy="35006"/>
                </a:xfrm>
                <a:custGeom>
                  <a:avLst/>
                  <a:gdLst>
                    <a:gd name="T0" fmla="*/ 0 w 84"/>
                    <a:gd name="T1" fmla="*/ 1 h 80"/>
                    <a:gd name="T2" fmla="*/ 1 w 84"/>
                    <a:gd name="T3" fmla="*/ 0 h 80"/>
                    <a:gd name="T4" fmla="*/ 2 w 84"/>
                    <a:gd name="T5" fmla="*/ 0 h 80"/>
                    <a:gd name="T6" fmla="*/ 1 w 84"/>
                    <a:gd name="T7" fmla="*/ 2 h 80"/>
                    <a:gd name="T8" fmla="*/ 0 w 84"/>
                    <a:gd name="T9" fmla="*/ 1 h 8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4"/>
                    <a:gd name="T16" fmla="*/ 0 h 80"/>
                    <a:gd name="T17" fmla="*/ 84 w 84"/>
                    <a:gd name="T18" fmla="*/ 80 h 8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4" h="80">
                      <a:moveTo>
                        <a:pt x="0" y="65"/>
                      </a:moveTo>
                      <a:lnTo>
                        <a:pt x="27" y="0"/>
                      </a:lnTo>
                      <a:lnTo>
                        <a:pt x="84" y="15"/>
                      </a:lnTo>
                      <a:lnTo>
                        <a:pt x="38" y="80"/>
                      </a:lnTo>
                      <a:lnTo>
                        <a:pt x="0" y="6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3" name="Freeform 336"/>
                <p:cNvSpPr/>
                <p:nvPr/>
              </p:nvSpPr>
              <p:spPr bwMode="auto">
                <a:xfrm>
                  <a:off x="3452378" y="3429000"/>
                  <a:ext cx="32010" cy="65238"/>
                </a:xfrm>
                <a:custGeom>
                  <a:avLst/>
                  <a:gdLst>
                    <a:gd name="T0" fmla="*/ 0 w 67"/>
                    <a:gd name="T1" fmla="*/ 1 h 144"/>
                    <a:gd name="T2" fmla="*/ 1 w 67"/>
                    <a:gd name="T3" fmla="*/ 3 h 144"/>
                    <a:gd name="T4" fmla="*/ 1 w 67"/>
                    <a:gd name="T5" fmla="*/ 0 h 144"/>
                    <a:gd name="T6" fmla="*/ 1 w 67"/>
                    <a:gd name="T7" fmla="*/ 0 h 144"/>
                    <a:gd name="T8" fmla="*/ 0 w 67"/>
                    <a:gd name="T9" fmla="*/ 1 h 14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7"/>
                    <a:gd name="T16" fmla="*/ 0 h 144"/>
                    <a:gd name="T17" fmla="*/ 67 w 67"/>
                    <a:gd name="T18" fmla="*/ 144 h 14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7" h="144">
                      <a:moveTo>
                        <a:pt x="0" y="60"/>
                      </a:moveTo>
                      <a:lnTo>
                        <a:pt x="28" y="144"/>
                      </a:lnTo>
                      <a:lnTo>
                        <a:pt x="67" y="0"/>
                      </a:lnTo>
                      <a:lnTo>
                        <a:pt x="33" y="2"/>
                      </a:lnTo>
                      <a:lnTo>
                        <a:pt x="0" y="6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" name="Freeform 337"/>
                <p:cNvSpPr/>
                <p:nvPr/>
              </p:nvSpPr>
              <p:spPr bwMode="auto">
                <a:xfrm>
                  <a:off x="1466089" y="2819579"/>
                  <a:ext cx="195428" cy="85924"/>
                </a:xfrm>
                <a:custGeom>
                  <a:avLst/>
                  <a:gdLst>
                    <a:gd name="T0" fmla="*/ 0 w 403"/>
                    <a:gd name="T1" fmla="*/ 1 h 190"/>
                    <a:gd name="T2" fmla="*/ 2 w 403"/>
                    <a:gd name="T3" fmla="*/ 3 h 190"/>
                    <a:gd name="T4" fmla="*/ 4 w 403"/>
                    <a:gd name="T5" fmla="*/ 3 h 190"/>
                    <a:gd name="T6" fmla="*/ 5 w 403"/>
                    <a:gd name="T7" fmla="*/ 4 h 190"/>
                    <a:gd name="T8" fmla="*/ 6 w 403"/>
                    <a:gd name="T9" fmla="*/ 4 h 190"/>
                    <a:gd name="T10" fmla="*/ 8 w 403"/>
                    <a:gd name="T11" fmla="*/ 3 h 190"/>
                    <a:gd name="T12" fmla="*/ 9 w 403"/>
                    <a:gd name="T13" fmla="*/ 4 h 190"/>
                    <a:gd name="T14" fmla="*/ 9 w 403"/>
                    <a:gd name="T15" fmla="*/ 3 h 190"/>
                    <a:gd name="T16" fmla="*/ 7 w 403"/>
                    <a:gd name="T17" fmla="*/ 3 h 190"/>
                    <a:gd name="T18" fmla="*/ 3 w 403"/>
                    <a:gd name="T19" fmla="*/ 0 h 190"/>
                    <a:gd name="T20" fmla="*/ 2 w 403"/>
                    <a:gd name="T21" fmla="*/ 0 h 190"/>
                    <a:gd name="T22" fmla="*/ 0 w 403"/>
                    <a:gd name="T23" fmla="*/ 1 h 19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403"/>
                    <a:gd name="T37" fmla="*/ 0 h 190"/>
                    <a:gd name="T38" fmla="*/ 403 w 403"/>
                    <a:gd name="T39" fmla="*/ 190 h 19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403" h="190">
                      <a:moveTo>
                        <a:pt x="0" y="47"/>
                      </a:moveTo>
                      <a:lnTo>
                        <a:pt x="72" y="135"/>
                      </a:lnTo>
                      <a:lnTo>
                        <a:pt x="184" y="134"/>
                      </a:lnTo>
                      <a:lnTo>
                        <a:pt x="201" y="171"/>
                      </a:lnTo>
                      <a:lnTo>
                        <a:pt x="251" y="190"/>
                      </a:lnTo>
                      <a:lnTo>
                        <a:pt x="340" y="146"/>
                      </a:lnTo>
                      <a:lnTo>
                        <a:pt x="392" y="155"/>
                      </a:lnTo>
                      <a:lnTo>
                        <a:pt x="403" y="117"/>
                      </a:lnTo>
                      <a:lnTo>
                        <a:pt x="306" y="106"/>
                      </a:lnTo>
                      <a:lnTo>
                        <a:pt x="110" y="17"/>
                      </a:lnTo>
                      <a:lnTo>
                        <a:pt x="87" y="0"/>
                      </a:lnTo>
                      <a:lnTo>
                        <a:pt x="0" y="4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" name="Freeform 338"/>
                <p:cNvSpPr/>
                <p:nvPr/>
              </p:nvSpPr>
              <p:spPr bwMode="auto">
                <a:xfrm>
                  <a:off x="1398700" y="2638185"/>
                  <a:ext cx="48857" cy="79559"/>
                </a:xfrm>
                <a:custGeom>
                  <a:avLst/>
                  <a:gdLst>
                    <a:gd name="T0" fmla="*/ 0 w 100"/>
                    <a:gd name="T1" fmla="*/ 3 h 175"/>
                    <a:gd name="T2" fmla="*/ 0 w 100"/>
                    <a:gd name="T3" fmla="*/ 1 h 175"/>
                    <a:gd name="T4" fmla="*/ 2 w 100"/>
                    <a:gd name="T5" fmla="*/ 0 h 175"/>
                    <a:gd name="T6" fmla="*/ 2 w 100"/>
                    <a:gd name="T7" fmla="*/ 2 h 175"/>
                    <a:gd name="T8" fmla="*/ 2 w 100"/>
                    <a:gd name="T9" fmla="*/ 2 h 175"/>
                    <a:gd name="T10" fmla="*/ 1 w 100"/>
                    <a:gd name="T11" fmla="*/ 3 h 175"/>
                    <a:gd name="T12" fmla="*/ 1 w 100"/>
                    <a:gd name="T13" fmla="*/ 4 h 175"/>
                    <a:gd name="T14" fmla="*/ 0 w 100"/>
                    <a:gd name="T15" fmla="*/ 4 h 175"/>
                    <a:gd name="T16" fmla="*/ 0 w 100"/>
                    <a:gd name="T17" fmla="*/ 3 h 17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00"/>
                    <a:gd name="T28" fmla="*/ 0 h 175"/>
                    <a:gd name="T29" fmla="*/ 100 w 100"/>
                    <a:gd name="T30" fmla="*/ 175 h 17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00" h="175">
                      <a:moveTo>
                        <a:pt x="0" y="133"/>
                      </a:moveTo>
                      <a:lnTo>
                        <a:pt x="6" y="47"/>
                      </a:lnTo>
                      <a:lnTo>
                        <a:pt x="87" y="0"/>
                      </a:lnTo>
                      <a:lnTo>
                        <a:pt x="72" y="69"/>
                      </a:lnTo>
                      <a:lnTo>
                        <a:pt x="100" y="89"/>
                      </a:lnTo>
                      <a:lnTo>
                        <a:pt x="48" y="127"/>
                      </a:lnTo>
                      <a:lnTo>
                        <a:pt x="46" y="175"/>
                      </a:lnTo>
                      <a:lnTo>
                        <a:pt x="16" y="175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" name="Freeform 339"/>
                <p:cNvSpPr/>
                <p:nvPr/>
              </p:nvSpPr>
              <p:spPr bwMode="auto">
                <a:xfrm>
                  <a:off x="1430710" y="2698650"/>
                  <a:ext cx="16847" cy="9547"/>
                </a:xfrm>
                <a:custGeom>
                  <a:avLst/>
                  <a:gdLst>
                    <a:gd name="T0" fmla="*/ 0 w 36"/>
                    <a:gd name="T1" fmla="*/ 1 h 22"/>
                    <a:gd name="T2" fmla="*/ 1 w 36"/>
                    <a:gd name="T3" fmla="*/ 0 h 22"/>
                    <a:gd name="T4" fmla="*/ 1 w 36"/>
                    <a:gd name="T5" fmla="*/ 0 h 22"/>
                    <a:gd name="T6" fmla="*/ 0 w 36"/>
                    <a:gd name="T7" fmla="*/ 1 h 2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6"/>
                    <a:gd name="T13" fmla="*/ 0 h 22"/>
                    <a:gd name="T14" fmla="*/ 36 w 36"/>
                    <a:gd name="T15" fmla="*/ 22 h 2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6" h="22">
                      <a:moveTo>
                        <a:pt x="0" y="22"/>
                      </a:moveTo>
                      <a:lnTo>
                        <a:pt x="30" y="0"/>
                      </a:lnTo>
                      <a:lnTo>
                        <a:pt x="36" y="14"/>
                      </a:lnTo>
                      <a:lnTo>
                        <a:pt x="0" y="2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" name="Freeform 340"/>
                <p:cNvSpPr/>
                <p:nvPr/>
              </p:nvSpPr>
              <p:spPr bwMode="auto">
                <a:xfrm>
                  <a:off x="1454296" y="2681147"/>
                  <a:ext cx="28640" cy="33415"/>
                </a:xfrm>
                <a:custGeom>
                  <a:avLst/>
                  <a:gdLst>
                    <a:gd name="T0" fmla="*/ 0 w 61"/>
                    <a:gd name="T1" fmla="*/ 1 h 74"/>
                    <a:gd name="T2" fmla="*/ 1 w 61"/>
                    <a:gd name="T3" fmla="*/ 2 h 74"/>
                    <a:gd name="T4" fmla="*/ 1 w 61"/>
                    <a:gd name="T5" fmla="*/ 1 h 74"/>
                    <a:gd name="T6" fmla="*/ 1 w 61"/>
                    <a:gd name="T7" fmla="*/ 0 h 74"/>
                    <a:gd name="T8" fmla="*/ 0 w 61"/>
                    <a:gd name="T9" fmla="*/ 1 h 7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1"/>
                    <a:gd name="T16" fmla="*/ 0 h 74"/>
                    <a:gd name="T17" fmla="*/ 61 w 61"/>
                    <a:gd name="T18" fmla="*/ 74 h 7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1" h="74">
                      <a:moveTo>
                        <a:pt x="0" y="39"/>
                      </a:moveTo>
                      <a:lnTo>
                        <a:pt x="48" y="74"/>
                      </a:lnTo>
                      <a:lnTo>
                        <a:pt x="61" y="38"/>
                      </a:lnTo>
                      <a:lnTo>
                        <a:pt x="52" y="0"/>
                      </a:lnTo>
                      <a:lnTo>
                        <a:pt x="0" y="3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" name="Freeform 341"/>
                <p:cNvSpPr/>
                <p:nvPr/>
              </p:nvSpPr>
              <p:spPr bwMode="auto">
                <a:xfrm>
                  <a:off x="1626137" y="2245164"/>
                  <a:ext cx="200482" cy="329374"/>
                </a:xfrm>
                <a:custGeom>
                  <a:avLst/>
                  <a:gdLst>
                    <a:gd name="T0" fmla="*/ 0 w 416"/>
                    <a:gd name="T1" fmla="*/ 2 h 726"/>
                    <a:gd name="T2" fmla="*/ 1 w 416"/>
                    <a:gd name="T3" fmla="*/ 1 h 726"/>
                    <a:gd name="T4" fmla="*/ 2 w 416"/>
                    <a:gd name="T5" fmla="*/ 2 h 726"/>
                    <a:gd name="T6" fmla="*/ 3 w 416"/>
                    <a:gd name="T7" fmla="*/ 3 h 726"/>
                    <a:gd name="T8" fmla="*/ 5 w 416"/>
                    <a:gd name="T9" fmla="*/ 2 h 726"/>
                    <a:gd name="T10" fmla="*/ 5 w 416"/>
                    <a:gd name="T11" fmla="*/ 0 h 726"/>
                    <a:gd name="T12" fmla="*/ 7 w 416"/>
                    <a:gd name="T13" fmla="*/ 0 h 726"/>
                    <a:gd name="T14" fmla="*/ 8 w 416"/>
                    <a:gd name="T15" fmla="*/ 1 h 726"/>
                    <a:gd name="T16" fmla="*/ 7 w 416"/>
                    <a:gd name="T17" fmla="*/ 2 h 726"/>
                    <a:gd name="T18" fmla="*/ 7 w 416"/>
                    <a:gd name="T19" fmla="*/ 3 h 726"/>
                    <a:gd name="T20" fmla="*/ 9 w 416"/>
                    <a:gd name="T21" fmla="*/ 4 h 726"/>
                    <a:gd name="T22" fmla="*/ 8 w 416"/>
                    <a:gd name="T23" fmla="*/ 5 h 726"/>
                    <a:gd name="T24" fmla="*/ 9 w 416"/>
                    <a:gd name="T25" fmla="*/ 7 h 726"/>
                    <a:gd name="T26" fmla="*/ 8 w 416"/>
                    <a:gd name="T27" fmla="*/ 9 h 726"/>
                    <a:gd name="T28" fmla="*/ 10 w 416"/>
                    <a:gd name="T29" fmla="*/ 13 h 726"/>
                    <a:gd name="T30" fmla="*/ 6 w 416"/>
                    <a:gd name="T31" fmla="*/ 16 h 726"/>
                    <a:gd name="T32" fmla="*/ 2 w 416"/>
                    <a:gd name="T33" fmla="*/ 17 h 726"/>
                    <a:gd name="T34" fmla="*/ 2 w 416"/>
                    <a:gd name="T35" fmla="*/ 16 h 726"/>
                    <a:gd name="T36" fmla="*/ 1 w 416"/>
                    <a:gd name="T37" fmla="*/ 16 h 726"/>
                    <a:gd name="T38" fmla="*/ 1 w 416"/>
                    <a:gd name="T39" fmla="*/ 12 h 726"/>
                    <a:gd name="T40" fmla="*/ 4 w 416"/>
                    <a:gd name="T41" fmla="*/ 9 h 726"/>
                    <a:gd name="T42" fmla="*/ 3 w 416"/>
                    <a:gd name="T43" fmla="*/ 7 h 726"/>
                    <a:gd name="T44" fmla="*/ 3 w 416"/>
                    <a:gd name="T45" fmla="*/ 4 h 726"/>
                    <a:gd name="T46" fmla="*/ 0 w 416"/>
                    <a:gd name="T47" fmla="*/ 2 h 72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416"/>
                    <a:gd name="T73" fmla="*/ 0 h 726"/>
                    <a:gd name="T74" fmla="*/ 416 w 416"/>
                    <a:gd name="T75" fmla="*/ 726 h 72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416" h="726">
                      <a:moveTo>
                        <a:pt x="0" y="76"/>
                      </a:moveTo>
                      <a:lnTo>
                        <a:pt x="27" y="55"/>
                      </a:lnTo>
                      <a:lnTo>
                        <a:pt x="72" y="97"/>
                      </a:lnTo>
                      <a:lnTo>
                        <a:pt x="151" y="105"/>
                      </a:lnTo>
                      <a:lnTo>
                        <a:pt x="196" y="79"/>
                      </a:lnTo>
                      <a:lnTo>
                        <a:pt x="208" y="17"/>
                      </a:lnTo>
                      <a:lnTo>
                        <a:pt x="284" y="0"/>
                      </a:lnTo>
                      <a:lnTo>
                        <a:pt x="324" y="25"/>
                      </a:lnTo>
                      <a:lnTo>
                        <a:pt x="319" y="76"/>
                      </a:lnTo>
                      <a:lnTo>
                        <a:pt x="303" y="126"/>
                      </a:lnTo>
                      <a:lnTo>
                        <a:pt x="362" y="190"/>
                      </a:lnTo>
                      <a:lnTo>
                        <a:pt x="325" y="236"/>
                      </a:lnTo>
                      <a:lnTo>
                        <a:pt x="365" y="316"/>
                      </a:lnTo>
                      <a:lnTo>
                        <a:pt x="353" y="387"/>
                      </a:lnTo>
                      <a:lnTo>
                        <a:pt x="416" y="537"/>
                      </a:lnTo>
                      <a:lnTo>
                        <a:pt x="269" y="680"/>
                      </a:lnTo>
                      <a:lnTo>
                        <a:pt x="94" y="726"/>
                      </a:lnTo>
                      <a:lnTo>
                        <a:pt x="83" y="697"/>
                      </a:lnTo>
                      <a:lnTo>
                        <a:pt x="27" y="674"/>
                      </a:lnTo>
                      <a:lnTo>
                        <a:pt x="20" y="533"/>
                      </a:lnTo>
                      <a:lnTo>
                        <a:pt x="189" y="381"/>
                      </a:lnTo>
                      <a:lnTo>
                        <a:pt x="134" y="306"/>
                      </a:lnTo>
                      <a:lnTo>
                        <a:pt x="112" y="155"/>
                      </a:lnTo>
                      <a:lnTo>
                        <a:pt x="0" y="7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9" name="Freeform 342"/>
                <p:cNvSpPr/>
                <p:nvPr/>
              </p:nvSpPr>
              <p:spPr bwMode="auto">
                <a:xfrm>
                  <a:off x="1167893" y="2819579"/>
                  <a:ext cx="230807" cy="219583"/>
                </a:xfrm>
                <a:custGeom>
                  <a:avLst/>
                  <a:gdLst>
                    <a:gd name="T0" fmla="*/ 0 w 482"/>
                    <a:gd name="T1" fmla="*/ 3 h 484"/>
                    <a:gd name="T2" fmla="*/ 0 w 482"/>
                    <a:gd name="T3" fmla="*/ 4 h 484"/>
                    <a:gd name="T4" fmla="*/ 3 w 482"/>
                    <a:gd name="T5" fmla="*/ 5 h 484"/>
                    <a:gd name="T6" fmla="*/ 2 w 482"/>
                    <a:gd name="T7" fmla="*/ 6 h 484"/>
                    <a:gd name="T8" fmla="*/ 3 w 482"/>
                    <a:gd name="T9" fmla="*/ 6 h 484"/>
                    <a:gd name="T10" fmla="*/ 3 w 482"/>
                    <a:gd name="T11" fmla="*/ 8 h 484"/>
                    <a:gd name="T12" fmla="*/ 3 w 482"/>
                    <a:gd name="T13" fmla="*/ 10 h 484"/>
                    <a:gd name="T14" fmla="*/ 5 w 482"/>
                    <a:gd name="T15" fmla="*/ 11 h 484"/>
                    <a:gd name="T16" fmla="*/ 5 w 482"/>
                    <a:gd name="T17" fmla="*/ 11 h 484"/>
                    <a:gd name="T18" fmla="*/ 7 w 482"/>
                    <a:gd name="T19" fmla="*/ 11 h 484"/>
                    <a:gd name="T20" fmla="*/ 7 w 482"/>
                    <a:gd name="T21" fmla="*/ 10 h 484"/>
                    <a:gd name="T22" fmla="*/ 8 w 482"/>
                    <a:gd name="T23" fmla="*/ 10 h 484"/>
                    <a:gd name="T24" fmla="*/ 9 w 482"/>
                    <a:gd name="T25" fmla="*/ 10 h 484"/>
                    <a:gd name="T26" fmla="*/ 11 w 482"/>
                    <a:gd name="T27" fmla="*/ 9 h 484"/>
                    <a:gd name="T28" fmla="*/ 10 w 482"/>
                    <a:gd name="T29" fmla="*/ 8 h 484"/>
                    <a:gd name="T30" fmla="*/ 10 w 482"/>
                    <a:gd name="T31" fmla="*/ 7 h 484"/>
                    <a:gd name="T32" fmla="*/ 9 w 482"/>
                    <a:gd name="T33" fmla="*/ 6 h 484"/>
                    <a:gd name="T34" fmla="*/ 11 w 482"/>
                    <a:gd name="T35" fmla="*/ 5 h 484"/>
                    <a:gd name="T36" fmla="*/ 11 w 482"/>
                    <a:gd name="T37" fmla="*/ 3 h 484"/>
                    <a:gd name="T38" fmla="*/ 9 w 482"/>
                    <a:gd name="T39" fmla="*/ 2 h 484"/>
                    <a:gd name="T40" fmla="*/ 9 w 482"/>
                    <a:gd name="T41" fmla="*/ 2 h 484"/>
                    <a:gd name="T42" fmla="*/ 7 w 482"/>
                    <a:gd name="T43" fmla="*/ 0 h 484"/>
                    <a:gd name="T44" fmla="*/ 6 w 482"/>
                    <a:gd name="T45" fmla="*/ 0 h 484"/>
                    <a:gd name="T46" fmla="*/ 5 w 482"/>
                    <a:gd name="T47" fmla="*/ 2 h 484"/>
                    <a:gd name="T48" fmla="*/ 3 w 482"/>
                    <a:gd name="T49" fmla="*/ 2 h 484"/>
                    <a:gd name="T50" fmla="*/ 3 w 482"/>
                    <a:gd name="T51" fmla="*/ 3 h 484"/>
                    <a:gd name="T52" fmla="*/ 0 w 482"/>
                    <a:gd name="T53" fmla="*/ 3 h 484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482"/>
                    <a:gd name="T82" fmla="*/ 0 h 484"/>
                    <a:gd name="T83" fmla="*/ 482 w 482"/>
                    <a:gd name="T84" fmla="*/ 484 h 484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482" h="484">
                      <a:moveTo>
                        <a:pt x="0" y="147"/>
                      </a:moveTo>
                      <a:lnTo>
                        <a:pt x="15" y="189"/>
                      </a:lnTo>
                      <a:lnTo>
                        <a:pt x="115" y="219"/>
                      </a:lnTo>
                      <a:lnTo>
                        <a:pt x="96" y="242"/>
                      </a:lnTo>
                      <a:lnTo>
                        <a:pt x="135" y="275"/>
                      </a:lnTo>
                      <a:lnTo>
                        <a:pt x="150" y="327"/>
                      </a:lnTo>
                      <a:lnTo>
                        <a:pt x="107" y="430"/>
                      </a:lnTo>
                      <a:lnTo>
                        <a:pt x="228" y="472"/>
                      </a:lnTo>
                      <a:lnTo>
                        <a:pt x="240" y="477"/>
                      </a:lnTo>
                      <a:lnTo>
                        <a:pt x="297" y="484"/>
                      </a:lnTo>
                      <a:lnTo>
                        <a:pt x="297" y="444"/>
                      </a:lnTo>
                      <a:lnTo>
                        <a:pt x="330" y="421"/>
                      </a:lnTo>
                      <a:lnTo>
                        <a:pt x="408" y="448"/>
                      </a:lnTo>
                      <a:lnTo>
                        <a:pt x="456" y="407"/>
                      </a:lnTo>
                      <a:lnTo>
                        <a:pt x="430" y="348"/>
                      </a:lnTo>
                      <a:lnTo>
                        <a:pt x="441" y="293"/>
                      </a:lnTo>
                      <a:lnTo>
                        <a:pt x="402" y="261"/>
                      </a:lnTo>
                      <a:lnTo>
                        <a:pt x="456" y="195"/>
                      </a:lnTo>
                      <a:lnTo>
                        <a:pt x="482" y="123"/>
                      </a:lnTo>
                      <a:lnTo>
                        <a:pt x="410" y="92"/>
                      </a:lnTo>
                      <a:lnTo>
                        <a:pt x="392" y="84"/>
                      </a:lnTo>
                      <a:lnTo>
                        <a:pt x="280" y="0"/>
                      </a:lnTo>
                      <a:lnTo>
                        <a:pt x="244" y="15"/>
                      </a:lnTo>
                      <a:lnTo>
                        <a:pt x="197" y="96"/>
                      </a:lnTo>
                      <a:lnTo>
                        <a:pt x="104" y="81"/>
                      </a:lnTo>
                      <a:lnTo>
                        <a:pt x="122" y="143"/>
                      </a:lnTo>
                      <a:lnTo>
                        <a:pt x="0" y="14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" name="Freeform 343"/>
                <p:cNvSpPr/>
                <p:nvPr/>
              </p:nvSpPr>
              <p:spPr bwMode="auto">
                <a:xfrm>
                  <a:off x="1407123" y="3023250"/>
                  <a:ext cx="15163" cy="39779"/>
                </a:xfrm>
                <a:custGeom>
                  <a:avLst/>
                  <a:gdLst>
                    <a:gd name="T0" fmla="*/ 0 w 31"/>
                    <a:gd name="T1" fmla="*/ 1 h 89"/>
                    <a:gd name="T2" fmla="*/ 1 w 31"/>
                    <a:gd name="T3" fmla="*/ 2 h 89"/>
                    <a:gd name="T4" fmla="*/ 1 w 31"/>
                    <a:gd name="T5" fmla="*/ 0 h 89"/>
                    <a:gd name="T6" fmla="*/ 0 w 31"/>
                    <a:gd name="T7" fmla="*/ 1 h 8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1"/>
                    <a:gd name="T13" fmla="*/ 0 h 89"/>
                    <a:gd name="T14" fmla="*/ 31 w 31"/>
                    <a:gd name="T15" fmla="*/ 89 h 8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1" h="89">
                      <a:moveTo>
                        <a:pt x="0" y="46"/>
                      </a:moveTo>
                      <a:lnTo>
                        <a:pt x="28" y="89"/>
                      </a:lnTo>
                      <a:lnTo>
                        <a:pt x="31" y="0"/>
                      </a:lnTo>
                      <a:lnTo>
                        <a:pt x="0" y="4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" name="Freeform 344"/>
                <p:cNvSpPr/>
                <p:nvPr/>
              </p:nvSpPr>
              <p:spPr bwMode="auto">
                <a:xfrm>
                  <a:off x="1358266" y="2717744"/>
                  <a:ext cx="161733" cy="194124"/>
                </a:xfrm>
                <a:custGeom>
                  <a:avLst/>
                  <a:gdLst>
                    <a:gd name="T0" fmla="*/ 0 w 335"/>
                    <a:gd name="T1" fmla="*/ 4 h 429"/>
                    <a:gd name="T2" fmla="*/ 0 w 335"/>
                    <a:gd name="T3" fmla="*/ 6 h 429"/>
                    <a:gd name="T4" fmla="*/ 0 w 335"/>
                    <a:gd name="T5" fmla="*/ 6 h 429"/>
                    <a:gd name="T6" fmla="*/ 0 w 335"/>
                    <a:gd name="T7" fmla="*/ 7 h 429"/>
                    <a:gd name="T8" fmla="*/ 2 w 335"/>
                    <a:gd name="T9" fmla="*/ 8 h 429"/>
                    <a:gd name="T10" fmla="*/ 1 w 335"/>
                    <a:gd name="T11" fmla="*/ 10 h 429"/>
                    <a:gd name="T12" fmla="*/ 3 w 335"/>
                    <a:gd name="T13" fmla="*/ 10 h 429"/>
                    <a:gd name="T14" fmla="*/ 6 w 335"/>
                    <a:gd name="T15" fmla="*/ 10 h 429"/>
                    <a:gd name="T16" fmla="*/ 7 w 335"/>
                    <a:gd name="T17" fmla="*/ 8 h 429"/>
                    <a:gd name="T18" fmla="*/ 5 w 335"/>
                    <a:gd name="T19" fmla="*/ 6 h 429"/>
                    <a:gd name="T20" fmla="*/ 7 w 335"/>
                    <a:gd name="T21" fmla="*/ 5 h 429"/>
                    <a:gd name="T22" fmla="*/ 8 w 335"/>
                    <a:gd name="T23" fmla="*/ 5 h 429"/>
                    <a:gd name="T24" fmla="*/ 7 w 335"/>
                    <a:gd name="T25" fmla="*/ 1 h 429"/>
                    <a:gd name="T26" fmla="*/ 6 w 335"/>
                    <a:gd name="T27" fmla="*/ 1 h 429"/>
                    <a:gd name="T28" fmla="*/ 4 w 335"/>
                    <a:gd name="T29" fmla="*/ 1 h 429"/>
                    <a:gd name="T30" fmla="*/ 4 w 335"/>
                    <a:gd name="T31" fmla="*/ 1 h 429"/>
                    <a:gd name="T32" fmla="*/ 3 w 335"/>
                    <a:gd name="T33" fmla="*/ 0 h 429"/>
                    <a:gd name="T34" fmla="*/ 2 w 335"/>
                    <a:gd name="T35" fmla="*/ 0 h 429"/>
                    <a:gd name="T36" fmla="*/ 2 w 335"/>
                    <a:gd name="T37" fmla="*/ 2 h 429"/>
                    <a:gd name="T38" fmla="*/ 1 w 335"/>
                    <a:gd name="T39" fmla="*/ 2 h 429"/>
                    <a:gd name="T40" fmla="*/ 1 w 335"/>
                    <a:gd name="T41" fmla="*/ 2 h 429"/>
                    <a:gd name="T42" fmla="*/ 1 w 335"/>
                    <a:gd name="T43" fmla="*/ 4 h 429"/>
                    <a:gd name="T44" fmla="*/ 0 w 335"/>
                    <a:gd name="T45" fmla="*/ 4 h 42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35"/>
                    <a:gd name="T70" fmla="*/ 0 h 429"/>
                    <a:gd name="T71" fmla="*/ 335 w 335"/>
                    <a:gd name="T72" fmla="*/ 429 h 42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35" h="429">
                      <a:moveTo>
                        <a:pt x="0" y="178"/>
                      </a:moveTo>
                      <a:lnTo>
                        <a:pt x="2" y="247"/>
                      </a:lnTo>
                      <a:lnTo>
                        <a:pt x="5" y="279"/>
                      </a:lnTo>
                      <a:lnTo>
                        <a:pt x="10" y="317"/>
                      </a:lnTo>
                      <a:lnTo>
                        <a:pt x="82" y="348"/>
                      </a:lnTo>
                      <a:lnTo>
                        <a:pt x="56" y="420"/>
                      </a:lnTo>
                      <a:lnTo>
                        <a:pt x="130" y="429"/>
                      </a:lnTo>
                      <a:lnTo>
                        <a:pt x="262" y="428"/>
                      </a:lnTo>
                      <a:lnTo>
                        <a:pt x="297" y="359"/>
                      </a:lnTo>
                      <a:lnTo>
                        <a:pt x="225" y="271"/>
                      </a:lnTo>
                      <a:lnTo>
                        <a:pt x="309" y="224"/>
                      </a:lnTo>
                      <a:lnTo>
                        <a:pt x="335" y="237"/>
                      </a:lnTo>
                      <a:lnTo>
                        <a:pt x="309" y="65"/>
                      </a:lnTo>
                      <a:lnTo>
                        <a:pt x="250" y="23"/>
                      </a:lnTo>
                      <a:lnTo>
                        <a:pt x="180" y="53"/>
                      </a:lnTo>
                      <a:lnTo>
                        <a:pt x="189" y="33"/>
                      </a:lnTo>
                      <a:lnTo>
                        <a:pt x="130" y="0"/>
                      </a:lnTo>
                      <a:lnTo>
                        <a:pt x="100" y="0"/>
                      </a:lnTo>
                      <a:lnTo>
                        <a:pt x="99" y="95"/>
                      </a:lnTo>
                      <a:lnTo>
                        <a:pt x="67" y="69"/>
                      </a:lnTo>
                      <a:lnTo>
                        <a:pt x="45" y="99"/>
                      </a:lnTo>
                      <a:lnTo>
                        <a:pt x="41" y="156"/>
                      </a:lnTo>
                      <a:lnTo>
                        <a:pt x="0" y="17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2" name="Freeform 345"/>
                <p:cNvSpPr/>
                <p:nvPr/>
              </p:nvSpPr>
              <p:spPr bwMode="auto">
                <a:xfrm>
                  <a:off x="1619399" y="3053482"/>
                  <a:ext cx="114561" cy="125703"/>
                </a:xfrm>
                <a:custGeom>
                  <a:avLst/>
                  <a:gdLst>
                    <a:gd name="T0" fmla="*/ 0 w 241"/>
                    <a:gd name="T1" fmla="*/ 3 h 276"/>
                    <a:gd name="T2" fmla="*/ 1 w 241"/>
                    <a:gd name="T3" fmla="*/ 1 h 276"/>
                    <a:gd name="T4" fmla="*/ 3 w 241"/>
                    <a:gd name="T5" fmla="*/ 1 h 276"/>
                    <a:gd name="T6" fmla="*/ 5 w 241"/>
                    <a:gd name="T7" fmla="*/ 1 h 276"/>
                    <a:gd name="T8" fmla="*/ 5 w 241"/>
                    <a:gd name="T9" fmla="*/ 0 h 276"/>
                    <a:gd name="T10" fmla="*/ 5 w 241"/>
                    <a:gd name="T11" fmla="*/ 1 h 276"/>
                    <a:gd name="T12" fmla="*/ 4 w 241"/>
                    <a:gd name="T13" fmla="*/ 1 h 276"/>
                    <a:gd name="T14" fmla="*/ 3 w 241"/>
                    <a:gd name="T15" fmla="*/ 2 h 276"/>
                    <a:gd name="T16" fmla="*/ 2 w 241"/>
                    <a:gd name="T17" fmla="*/ 1 h 276"/>
                    <a:gd name="T18" fmla="*/ 3 w 241"/>
                    <a:gd name="T19" fmla="*/ 3 h 276"/>
                    <a:gd name="T20" fmla="*/ 2 w 241"/>
                    <a:gd name="T21" fmla="*/ 4 h 276"/>
                    <a:gd name="T22" fmla="*/ 3 w 241"/>
                    <a:gd name="T23" fmla="*/ 4 h 276"/>
                    <a:gd name="T24" fmla="*/ 3 w 241"/>
                    <a:gd name="T25" fmla="*/ 5 h 276"/>
                    <a:gd name="T26" fmla="*/ 2 w 241"/>
                    <a:gd name="T27" fmla="*/ 5 h 276"/>
                    <a:gd name="T28" fmla="*/ 3 w 241"/>
                    <a:gd name="T29" fmla="*/ 7 h 276"/>
                    <a:gd name="T30" fmla="*/ 1 w 241"/>
                    <a:gd name="T31" fmla="*/ 6 h 276"/>
                    <a:gd name="T32" fmla="*/ 1 w 241"/>
                    <a:gd name="T33" fmla="*/ 5 h 276"/>
                    <a:gd name="T34" fmla="*/ 3 w 241"/>
                    <a:gd name="T35" fmla="*/ 4 h 276"/>
                    <a:gd name="T36" fmla="*/ 1 w 241"/>
                    <a:gd name="T37" fmla="*/ 4 h 276"/>
                    <a:gd name="T38" fmla="*/ 0 w 241"/>
                    <a:gd name="T39" fmla="*/ 3 h 27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241"/>
                    <a:gd name="T61" fmla="*/ 0 h 276"/>
                    <a:gd name="T62" fmla="*/ 241 w 241"/>
                    <a:gd name="T63" fmla="*/ 276 h 27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241" h="276">
                      <a:moveTo>
                        <a:pt x="0" y="110"/>
                      </a:moveTo>
                      <a:lnTo>
                        <a:pt x="36" y="47"/>
                      </a:lnTo>
                      <a:lnTo>
                        <a:pt x="111" y="23"/>
                      </a:lnTo>
                      <a:lnTo>
                        <a:pt x="206" y="26"/>
                      </a:lnTo>
                      <a:lnTo>
                        <a:pt x="241" y="0"/>
                      </a:lnTo>
                      <a:lnTo>
                        <a:pt x="227" y="57"/>
                      </a:lnTo>
                      <a:lnTo>
                        <a:pt x="162" y="45"/>
                      </a:lnTo>
                      <a:lnTo>
                        <a:pt x="131" y="93"/>
                      </a:lnTo>
                      <a:lnTo>
                        <a:pt x="98" y="66"/>
                      </a:lnTo>
                      <a:lnTo>
                        <a:pt x="121" y="141"/>
                      </a:lnTo>
                      <a:lnTo>
                        <a:pt x="90" y="154"/>
                      </a:lnTo>
                      <a:lnTo>
                        <a:pt x="151" y="187"/>
                      </a:lnTo>
                      <a:lnTo>
                        <a:pt x="151" y="214"/>
                      </a:lnTo>
                      <a:lnTo>
                        <a:pt x="100" y="223"/>
                      </a:lnTo>
                      <a:lnTo>
                        <a:pt x="116" y="276"/>
                      </a:lnTo>
                      <a:lnTo>
                        <a:pt x="59" y="258"/>
                      </a:lnTo>
                      <a:lnTo>
                        <a:pt x="42" y="208"/>
                      </a:lnTo>
                      <a:lnTo>
                        <a:pt x="117" y="189"/>
                      </a:lnTo>
                      <a:lnTo>
                        <a:pt x="42" y="181"/>
                      </a:lnTo>
                      <a:lnTo>
                        <a:pt x="0" y="11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3" name="Freeform 346"/>
                <p:cNvSpPr/>
                <p:nvPr/>
              </p:nvSpPr>
              <p:spPr bwMode="auto">
                <a:xfrm>
                  <a:off x="1681733" y="3199871"/>
                  <a:ext cx="52226" cy="7956"/>
                </a:xfrm>
                <a:custGeom>
                  <a:avLst/>
                  <a:gdLst>
                    <a:gd name="T0" fmla="*/ 0 w 112"/>
                    <a:gd name="T1" fmla="*/ 0 h 19"/>
                    <a:gd name="T2" fmla="*/ 0 w 112"/>
                    <a:gd name="T3" fmla="*/ 0 h 19"/>
                    <a:gd name="T4" fmla="*/ 2 w 112"/>
                    <a:gd name="T5" fmla="*/ 0 h 19"/>
                    <a:gd name="T6" fmla="*/ 1 w 112"/>
                    <a:gd name="T7" fmla="*/ 0 h 19"/>
                    <a:gd name="T8" fmla="*/ 0 w 112"/>
                    <a:gd name="T9" fmla="*/ 0 h 1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2"/>
                    <a:gd name="T16" fmla="*/ 0 h 19"/>
                    <a:gd name="T17" fmla="*/ 112 w 112"/>
                    <a:gd name="T18" fmla="*/ 19 h 1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2" h="19">
                      <a:moveTo>
                        <a:pt x="0" y="19"/>
                      </a:moveTo>
                      <a:lnTo>
                        <a:pt x="10" y="0"/>
                      </a:lnTo>
                      <a:lnTo>
                        <a:pt x="112" y="19"/>
                      </a:lnTo>
                      <a:lnTo>
                        <a:pt x="34" y="19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4" name="Freeform 347"/>
                <p:cNvSpPr/>
                <p:nvPr/>
              </p:nvSpPr>
              <p:spPr bwMode="auto">
                <a:xfrm>
                  <a:off x="1545271" y="2886409"/>
                  <a:ext cx="121300" cy="70012"/>
                </a:xfrm>
                <a:custGeom>
                  <a:avLst/>
                  <a:gdLst>
                    <a:gd name="T0" fmla="*/ 0 w 254"/>
                    <a:gd name="T1" fmla="*/ 2 h 157"/>
                    <a:gd name="T2" fmla="*/ 1 w 254"/>
                    <a:gd name="T3" fmla="*/ 1 h 157"/>
                    <a:gd name="T4" fmla="*/ 2 w 254"/>
                    <a:gd name="T5" fmla="*/ 1 h 157"/>
                    <a:gd name="T6" fmla="*/ 4 w 254"/>
                    <a:gd name="T7" fmla="*/ 0 h 157"/>
                    <a:gd name="T8" fmla="*/ 5 w 254"/>
                    <a:gd name="T9" fmla="*/ 0 h 157"/>
                    <a:gd name="T10" fmla="*/ 6 w 254"/>
                    <a:gd name="T11" fmla="*/ 1 h 157"/>
                    <a:gd name="T12" fmla="*/ 3 w 254"/>
                    <a:gd name="T13" fmla="*/ 3 h 157"/>
                    <a:gd name="T14" fmla="*/ 2 w 254"/>
                    <a:gd name="T15" fmla="*/ 3 h 157"/>
                    <a:gd name="T16" fmla="*/ 0 w 254"/>
                    <a:gd name="T17" fmla="*/ 2 h 15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254"/>
                    <a:gd name="T28" fmla="*/ 0 h 157"/>
                    <a:gd name="T29" fmla="*/ 254 w 254"/>
                    <a:gd name="T30" fmla="*/ 157 h 15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254" h="157">
                      <a:moveTo>
                        <a:pt x="0" y="93"/>
                      </a:moveTo>
                      <a:lnTo>
                        <a:pt x="39" y="25"/>
                      </a:lnTo>
                      <a:lnTo>
                        <a:pt x="89" y="44"/>
                      </a:lnTo>
                      <a:lnTo>
                        <a:pt x="178" y="0"/>
                      </a:lnTo>
                      <a:lnTo>
                        <a:pt x="230" y="9"/>
                      </a:lnTo>
                      <a:lnTo>
                        <a:pt x="254" y="34"/>
                      </a:lnTo>
                      <a:lnTo>
                        <a:pt x="154" y="139"/>
                      </a:lnTo>
                      <a:lnTo>
                        <a:pt x="73" y="157"/>
                      </a:lnTo>
                      <a:lnTo>
                        <a:pt x="0" y="9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5" name="Freeform 348"/>
                <p:cNvSpPr/>
                <p:nvPr/>
              </p:nvSpPr>
              <p:spPr bwMode="auto">
                <a:xfrm>
                  <a:off x="2498824" y="3190324"/>
                  <a:ext cx="535742" cy="587145"/>
                </a:xfrm>
                <a:custGeom>
                  <a:avLst/>
                  <a:gdLst>
                    <a:gd name="T0" fmla="*/ 0 w 1118"/>
                    <a:gd name="T1" fmla="*/ 14 h 1294"/>
                    <a:gd name="T2" fmla="*/ 1 w 1118"/>
                    <a:gd name="T3" fmla="*/ 13 h 1294"/>
                    <a:gd name="T4" fmla="*/ 3 w 1118"/>
                    <a:gd name="T5" fmla="*/ 13 h 1294"/>
                    <a:gd name="T6" fmla="*/ 1 w 1118"/>
                    <a:gd name="T7" fmla="*/ 10 h 1294"/>
                    <a:gd name="T8" fmla="*/ 2 w 1118"/>
                    <a:gd name="T9" fmla="*/ 9 h 1294"/>
                    <a:gd name="T10" fmla="*/ 3 w 1118"/>
                    <a:gd name="T11" fmla="*/ 9 h 1294"/>
                    <a:gd name="T12" fmla="*/ 6 w 1118"/>
                    <a:gd name="T13" fmla="*/ 6 h 1294"/>
                    <a:gd name="T14" fmla="*/ 6 w 1118"/>
                    <a:gd name="T15" fmla="*/ 5 h 1294"/>
                    <a:gd name="T16" fmla="*/ 6 w 1118"/>
                    <a:gd name="T17" fmla="*/ 4 h 1294"/>
                    <a:gd name="T18" fmla="*/ 5 w 1118"/>
                    <a:gd name="T19" fmla="*/ 3 h 1294"/>
                    <a:gd name="T20" fmla="*/ 5 w 1118"/>
                    <a:gd name="T21" fmla="*/ 1 h 1294"/>
                    <a:gd name="T22" fmla="*/ 8 w 1118"/>
                    <a:gd name="T23" fmla="*/ 1 h 1294"/>
                    <a:gd name="T24" fmla="*/ 9 w 1118"/>
                    <a:gd name="T25" fmla="*/ 1 h 1294"/>
                    <a:gd name="T26" fmla="*/ 10 w 1118"/>
                    <a:gd name="T27" fmla="*/ 0 h 1294"/>
                    <a:gd name="T28" fmla="*/ 11 w 1118"/>
                    <a:gd name="T29" fmla="*/ 1 h 1294"/>
                    <a:gd name="T30" fmla="*/ 10 w 1118"/>
                    <a:gd name="T31" fmla="*/ 2 h 1294"/>
                    <a:gd name="T32" fmla="*/ 10 w 1118"/>
                    <a:gd name="T33" fmla="*/ 4 h 1294"/>
                    <a:gd name="T34" fmla="*/ 9 w 1118"/>
                    <a:gd name="T35" fmla="*/ 4 h 1294"/>
                    <a:gd name="T36" fmla="*/ 10 w 1118"/>
                    <a:gd name="T37" fmla="*/ 6 h 1294"/>
                    <a:gd name="T38" fmla="*/ 11 w 1118"/>
                    <a:gd name="T39" fmla="*/ 7 h 1294"/>
                    <a:gd name="T40" fmla="*/ 11 w 1118"/>
                    <a:gd name="T41" fmla="*/ 8 h 1294"/>
                    <a:gd name="T42" fmla="*/ 13 w 1118"/>
                    <a:gd name="T43" fmla="*/ 10 h 1294"/>
                    <a:gd name="T44" fmla="*/ 17 w 1118"/>
                    <a:gd name="T45" fmla="*/ 11 h 1294"/>
                    <a:gd name="T46" fmla="*/ 18 w 1118"/>
                    <a:gd name="T47" fmla="*/ 9 h 1294"/>
                    <a:gd name="T48" fmla="*/ 18 w 1118"/>
                    <a:gd name="T49" fmla="*/ 9 h 1294"/>
                    <a:gd name="T50" fmla="*/ 18 w 1118"/>
                    <a:gd name="T51" fmla="*/ 10 h 1294"/>
                    <a:gd name="T52" fmla="*/ 18 w 1118"/>
                    <a:gd name="T53" fmla="*/ 11 h 1294"/>
                    <a:gd name="T54" fmla="*/ 21 w 1118"/>
                    <a:gd name="T55" fmla="*/ 10 h 1294"/>
                    <a:gd name="T56" fmla="*/ 21 w 1118"/>
                    <a:gd name="T57" fmla="*/ 9 h 1294"/>
                    <a:gd name="T58" fmla="*/ 24 w 1118"/>
                    <a:gd name="T59" fmla="*/ 7 h 1294"/>
                    <a:gd name="T60" fmla="*/ 25 w 1118"/>
                    <a:gd name="T61" fmla="*/ 9 h 1294"/>
                    <a:gd name="T62" fmla="*/ 26 w 1118"/>
                    <a:gd name="T63" fmla="*/ 9 h 1294"/>
                    <a:gd name="T64" fmla="*/ 25 w 1118"/>
                    <a:gd name="T65" fmla="*/ 10 h 1294"/>
                    <a:gd name="T66" fmla="*/ 24 w 1118"/>
                    <a:gd name="T67" fmla="*/ 11 h 1294"/>
                    <a:gd name="T68" fmla="*/ 22 w 1118"/>
                    <a:gd name="T69" fmla="*/ 15 h 1294"/>
                    <a:gd name="T70" fmla="*/ 21 w 1118"/>
                    <a:gd name="T71" fmla="*/ 14 h 1294"/>
                    <a:gd name="T72" fmla="*/ 21 w 1118"/>
                    <a:gd name="T73" fmla="*/ 14 h 1294"/>
                    <a:gd name="T74" fmla="*/ 20 w 1118"/>
                    <a:gd name="T75" fmla="*/ 13 h 1294"/>
                    <a:gd name="T76" fmla="*/ 21 w 1118"/>
                    <a:gd name="T77" fmla="*/ 12 h 1294"/>
                    <a:gd name="T78" fmla="*/ 19 w 1118"/>
                    <a:gd name="T79" fmla="*/ 12 h 1294"/>
                    <a:gd name="T80" fmla="*/ 18 w 1118"/>
                    <a:gd name="T81" fmla="*/ 11 h 1294"/>
                    <a:gd name="T82" fmla="*/ 18 w 1118"/>
                    <a:gd name="T83" fmla="*/ 11 h 1294"/>
                    <a:gd name="T84" fmla="*/ 18 w 1118"/>
                    <a:gd name="T85" fmla="*/ 12 h 1294"/>
                    <a:gd name="T86" fmla="*/ 17 w 1118"/>
                    <a:gd name="T87" fmla="*/ 13 h 1294"/>
                    <a:gd name="T88" fmla="*/ 18 w 1118"/>
                    <a:gd name="T89" fmla="*/ 13 h 1294"/>
                    <a:gd name="T90" fmla="*/ 18 w 1118"/>
                    <a:gd name="T91" fmla="*/ 16 h 1294"/>
                    <a:gd name="T92" fmla="*/ 18 w 1118"/>
                    <a:gd name="T93" fmla="*/ 15 h 1294"/>
                    <a:gd name="T94" fmla="*/ 16 w 1118"/>
                    <a:gd name="T95" fmla="*/ 18 h 1294"/>
                    <a:gd name="T96" fmla="*/ 11 w 1118"/>
                    <a:gd name="T97" fmla="*/ 22 h 1294"/>
                    <a:gd name="T98" fmla="*/ 10 w 1118"/>
                    <a:gd name="T99" fmla="*/ 28 h 1294"/>
                    <a:gd name="T100" fmla="*/ 8 w 1118"/>
                    <a:gd name="T101" fmla="*/ 30 h 1294"/>
                    <a:gd name="T102" fmla="*/ 6 w 1118"/>
                    <a:gd name="T103" fmla="*/ 26 h 1294"/>
                    <a:gd name="T104" fmla="*/ 5 w 1118"/>
                    <a:gd name="T105" fmla="*/ 22 h 1294"/>
                    <a:gd name="T106" fmla="*/ 5 w 1118"/>
                    <a:gd name="T107" fmla="*/ 21 h 1294"/>
                    <a:gd name="T108" fmla="*/ 4 w 1118"/>
                    <a:gd name="T109" fmla="*/ 15 h 1294"/>
                    <a:gd name="T110" fmla="*/ 4 w 1118"/>
                    <a:gd name="T111" fmla="*/ 15 h 1294"/>
                    <a:gd name="T112" fmla="*/ 3 w 1118"/>
                    <a:gd name="T113" fmla="*/ 16 h 1294"/>
                    <a:gd name="T114" fmla="*/ 2 w 1118"/>
                    <a:gd name="T115" fmla="*/ 17 h 1294"/>
                    <a:gd name="T116" fmla="*/ 1 w 1118"/>
                    <a:gd name="T117" fmla="*/ 15 h 1294"/>
                    <a:gd name="T118" fmla="*/ 2 w 1118"/>
                    <a:gd name="T119" fmla="*/ 14 h 1294"/>
                    <a:gd name="T120" fmla="*/ 1 w 1118"/>
                    <a:gd name="T121" fmla="*/ 15 h 1294"/>
                    <a:gd name="T122" fmla="*/ 0 w 1118"/>
                    <a:gd name="T123" fmla="*/ 14 h 1294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1118"/>
                    <a:gd name="T187" fmla="*/ 0 h 1294"/>
                    <a:gd name="T188" fmla="*/ 1118 w 1118"/>
                    <a:gd name="T189" fmla="*/ 1294 h 1294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1118" h="1294">
                      <a:moveTo>
                        <a:pt x="0" y="588"/>
                      </a:moveTo>
                      <a:lnTo>
                        <a:pt x="31" y="560"/>
                      </a:lnTo>
                      <a:lnTo>
                        <a:pt x="116" y="560"/>
                      </a:lnTo>
                      <a:lnTo>
                        <a:pt x="55" y="424"/>
                      </a:lnTo>
                      <a:lnTo>
                        <a:pt x="93" y="387"/>
                      </a:lnTo>
                      <a:lnTo>
                        <a:pt x="141" y="392"/>
                      </a:lnTo>
                      <a:lnTo>
                        <a:pt x="257" y="243"/>
                      </a:lnTo>
                      <a:lnTo>
                        <a:pt x="250" y="204"/>
                      </a:lnTo>
                      <a:lnTo>
                        <a:pt x="277" y="180"/>
                      </a:lnTo>
                      <a:lnTo>
                        <a:pt x="228" y="134"/>
                      </a:lnTo>
                      <a:lnTo>
                        <a:pt x="226" y="62"/>
                      </a:lnTo>
                      <a:lnTo>
                        <a:pt x="336" y="62"/>
                      </a:lnTo>
                      <a:lnTo>
                        <a:pt x="365" y="27"/>
                      </a:lnTo>
                      <a:lnTo>
                        <a:pt x="427" y="0"/>
                      </a:lnTo>
                      <a:lnTo>
                        <a:pt x="467" y="25"/>
                      </a:lnTo>
                      <a:lnTo>
                        <a:pt x="414" y="98"/>
                      </a:lnTo>
                      <a:lnTo>
                        <a:pt x="438" y="161"/>
                      </a:lnTo>
                      <a:lnTo>
                        <a:pt x="399" y="170"/>
                      </a:lnTo>
                      <a:lnTo>
                        <a:pt x="416" y="247"/>
                      </a:lnTo>
                      <a:lnTo>
                        <a:pt x="498" y="278"/>
                      </a:lnTo>
                      <a:lnTo>
                        <a:pt x="459" y="350"/>
                      </a:lnTo>
                      <a:lnTo>
                        <a:pt x="561" y="419"/>
                      </a:lnTo>
                      <a:lnTo>
                        <a:pt x="761" y="462"/>
                      </a:lnTo>
                      <a:lnTo>
                        <a:pt x="764" y="395"/>
                      </a:lnTo>
                      <a:lnTo>
                        <a:pt x="789" y="387"/>
                      </a:lnTo>
                      <a:lnTo>
                        <a:pt x="794" y="420"/>
                      </a:lnTo>
                      <a:lnTo>
                        <a:pt x="810" y="449"/>
                      </a:lnTo>
                      <a:lnTo>
                        <a:pt x="915" y="437"/>
                      </a:lnTo>
                      <a:lnTo>
                        <a:pt x="906" y="396"/>
                      </a:lnTo>
                      <a:lnTo>
                        <a:pt x="1067" y="315"/>
                      </a:lnTo>
                      <a:lnTo>
                        <a:pt x="1079" y="364"/>
                      </a:lnTo>
                      <a:lnTo>
                        <a:pt x="1118" y="382"/>
                      </a:lnTo>
                      <a:lnTo>
                        <a:pt x="1103" y="430"/>
                      </a:lnTo>
                      <a:lnTo>
                        <a:pt x="1036" y="458"/>
                      </a:lnTo>
                      <a:lnTo>
                        <a:pt x="936" y="671"/>
                      </a:lnTo>
                      <a:lnTo>
                        <a:pt x="919" y="587"/>
                      </a:lnTo>
                      <a:lnTo>
                        <a:pt x="901" y="621"/>
                      </a:lnTo>
                      <a:lnTo>
                        <a:pt x="876" y="577"/>
                      </a:lnTo>
                      <a:lnTo>
                        <a:pt x="921" y="524"/>
                      </a:lnTo>
                      <a:lnTo>
                        <a:pt x="836" y="516"/>
                      </a:lnTo>
                      <a:lnTo>
                        <a:pt x="778" y="457"/>
                      </a:lnTo>
                      <a:lnTo>
                        <a:pt x="763" y="489"/>
                      </a:lnTo>
                      <a:lnTo>
                        <a:pt x="781" y="516"/>
                      </a:lnTo>
                      <a:lnTo>
                        <a:pt x="757" y="535"/>
                      </a:lnTo>
                      <a:lnTo>
                        <a:pt x="780" y="562"/>
                      </a:lnTo>
                      <a:lnTo>
                        <a:pt x="794" y="684"/>
                      </a:lnTo>
                      <a:lnTo>
                        <a:pt x="763" y="665"/>
                      </a:lnTo>
                      <a:lnTo>
                        <a:pt x="698" y="763"/>
                      </a:lnTo>
                      <a:lnTo>
                        <a:pt x="466" y="956"/>
                      </a:lnTo>
                      <a:lnTo>
                        <a:pt x="449" y="1199"/>
                      </a:lnTo>
                      <a:lnTo>
                        <a:pt x="355" y="1294"/>
                      </a:lnTo>
                      <a:lnTo>
                        <a:pt x="267" y="1109"/>
                      </a:lnTo>
                      <a:lnTo>
                        <a:pt x="233" y="961"/>
                      </a:lnTo>
                      <a:lnTo>
                        <a:pt x="200" y="926"/>
                      </a:lnTo>
                      <a:lnTo>
                        <a:pt x="179" y="657"/>
                      </a:lnTo>
                      <a:lnTo>
                        <a:pt x="156" y="649"/>
                      </a:lnTo>
                      <a:lnTo>
                        <a:pt x="144" y="706"/>
                      </a:lnTo>
                      <a:lnTo>
                        <a:pt x="90" y="723"/>
                      </a:lnTo>
                      <a:lnTo>
                        <a:pt x="34" y="650"/>
                      </a:lnTo>
                      <a:lnTo>
                        <a:pt x="89" y="615"/>
                      </a:lnTo>
                      <a:lnTo>
                        <a:pt x="34" y="630"/>
                      </a:lnTo>
                      <a:lnTo>
                        <a:pt x="0" y="588"/>
                      </a:lnTo>
                      <a:close/>
                    </a:path>
                  </a:pathLst>
                </a:custGeom>
                <a:solidFill>
                  <a:srgbClr val="00336C"/>
                </a:solidFill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6" name="Freeform 349"/>
                <p:cNvSpPr/>
                <p:nvPr/>
              </p:nvSpPr>
              <p:spPr bwMode="auto">
                <a:xfrm>
                  <a:off x="2995818" y="3826795"/>
                  <a:ext cx="200482" cy="227538"/>
                </a:xfrm>
                <a:custGeom>
                  <a:avLst/>
                  <a:gdLst>
                    <a:gd name="T0" fmla="*/ 0 w 416"/>
                    <a:gd name="T1" fmla="*/ 0 h 502"/>
                    <a:gd name="T2" fmla="*/ 2 w 416"/>
                    <a:gd name="T3" fmla="*/ 0 h 502"/>
                    <a:gd name="T4" fmla="*/ 5 w 416"/>
                    <a:gd name="T5" fmla="*/ 3 h 502"/>
                    <a:gd name="T6" fmla="*/ 7 w 416"/>
                    <a:gd name="T7" fmla="*/ 5 h 502"/>
                    <a:gd name="T8" fmla="*/ 7 w 416"/>
                    <a:gd name="T9" fmla="*/ 5 h 502"/>
                    <a:gd name="T10" fmla="*/ 8 w 416"/>
                    <a:gd name="T11" fmla="*/ 5 h 502"/>
                    <a:gd name="T12" fmla="*/ 7 w 416"/>
                    <a:gd name="T13" fmla="*/ 7 h 502"/>
                    <a:gd name="T14" fmla="*/ 10 w 416"/>
                    <a:gd name="T15" fmla="*/ 9 h 502"/>
                    <a:gd name="T16" fmla="*/ 9 w 416"/>
                    <a:gd name="T17" fmla="*/ 11 h 502"/>
                    <a:gd name="T18" fmla="*/ 9 w 416"/>
                    <a:gd name="T19" fmla="*/ 12 h 502"/>
                    <a:gd name="T20" fmla="*/ 7 w 416"/>
                    <a:gd name="T21" fmla="*/ 10 h 502"/>
                    <a:gd name="T22" fmla="*/ 3 w 416"/>
                    <a:gd name="T23" fmla="*/ 4 h 502"/>
                    <a:gd name="T24" fmla="*/ 0 w 416"/>
                    <a:gd name="T25" fmla="*/ 0 h 50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16"/>
                    <a:gd name="T40" fmla="*/ 0 h 502"/>
                    <a:gd name="T41" fmla="*/ 416 w 416"/>
                    <a:gd name="T42" fmla="*/ 502 h 50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16" h="502">
                      <a:moveTo>
                        <a:pt x="0" y="0"/>
                      </a:moveTo>
                      <a:lnTo>
                        <a:pt x="93" y="19"/>
                      </a:lnTo>
                      <a:lnTo>
                        <a:pt x="212" y="152"/>
                      </a:lnTo>
                      <a:lnTo>
                        <a:pt x="305" y="198"/>
                      </a:lnTo>
                      <a:lnTo>
                        <a:pt x="292" y="234"/>
                      </a:lnTo>
                      <a:lnTo>
                        <a:pt x="326" y="232"/>
                      </a:lnTo>
                      <a:lnTo>
                        <a:pt x="322" y="282"/>
                      </a:lnTo>
                      <a:lnTo>
                        <a:pt x="416" y="375"/>
                      </a:lnTo>
                      <a:lnTo>
                        <a:pt x="405" y="500"/>
                      </a:lnTo>
                      <a:lnTo>
                        <a:pt x="367" y="502"/>
                      </a:lnTo>
                      <a:lnTo>
                        <a:pt x="282" y="428"/>
                      </a:lnTo>
                      <a:lnTo>
                        <a:pt x="144" y="17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7" name="Freeform 350"/>
                <p:cNvSpPr/>
                <p:nvPr/>
              </p:nvSpPr>
              <p:spPr bwMode="auto">
                <a:xfrm>
                  <a:off x="3184507" y="4059107"/>
                  <a:ext cx="165103" cy="57282"/>
                </a:xfrm>
                <a:custGeom>
                  <a:avLst/>
                  <a:gdLst>
                    <a:gd name="T0" fmla="*/ 0 w 346"/>
                    <a:gd name="T1" fmla="*/ 1 h 126"/>
                    <a:gd name="T2" fmla="*/ 1 w 346"/>
                    <a:gd name="T3" fmla="*/ 0 h 126"/>
                    <a:gd name="T4" fmla="*/ 6 w 346"/>
                    <a:gd name="T5" fmla="*/ 1 h 126"/>
                    <a:gd name="T6" fmla="*/ 7 w 346"/>
                    <a:gd name="T7" fmla="*/ 2 h 126"/>
                    <a:gd name="T8" fmla="*/ 8 w 346"/>
                    <a:gd name="T9" fmla="*/ 2 h 126"/>
                    <a:gd name="T10" fmla="*/ 8 w 346"/>
                    <a:gd name="T11" fmla="*/ 3 h 126"/>
                    <a:gd name="T12" fmla="*/ 1 w 346"/>
                    <a:gd name="T13" fmla="*/ 1 h 126"/>
                    <a:gd name="T14" fmla="*/ 0 w 346"/>
                    <a:gd name="T15" fmla="*/ 1 h 1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46"/>
                    <a:gd name="T25" fmla="*/ 0 h 126"/>
                    <a:gd name="T26" fmla="*/ 346 w 346"/>
                    <a:gd name="T27" fmla="*/ 126 h 1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46" h="126">
                      <a:moveTo>
                        <a:pt x="0" y="35"/>
                      </a:moveTo>
                      <a:lnTo>
                        <a:pt x="23" y="0"/>
                      </a:lnTo>
                      <a:lnTo>
                        <a:pt x="266" y="39"/>
                      </a:lnTo>
                      <a:lnTo>
                        <a:pt x="291" y="70"/>
                      </a:lnTo>
                      <a:lnTo>
                        <a:pt x="341" y="83"/>
                      </a:lnTo>
                      <a:lnTo>
                        <a:pt x="346" y="126"/>
                      </a:lnTo>
                      <a:lnTo>
                        <a:pt x="63" y="66"/>
                      </a:lnTo>
                      <a:lnTo>
                        <a:pt x="0" y="3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Freeform 351"/>
                <p:cNvSpPr/>
                <p:nvPr/>
              </p:nvSpPr>
              <p:spPr bwMode="auto">
                <a:xfrm>
                  <a:off x="3250211" y="3853845"/>
                  <a:ext cx="180265" cy="168665"/>
                </a:xfrm>
                <a:custGeom>
                  <a:avLst/>
                  <a:gdLst>
                    <a:gd name="T0" fmla="*/ 0 w 375"/>
                    <a:gd name="T1" fmla="*/ 4 h 372"/>
                    <a:gd name="T2" fmla="*/ 1 w 375"/>
                    <a:gd name="T3" fmla="*/ 3 h 372"/>
                    <a:gd name="T4" fmla="*/ 1 w 375"/>
                    <a:gd name="T5" fmla="*/ 3 h 372"/>
                    <a:gd name="T6" fmla="*/ 4 w 375"/>
                    <a:gd name="T7" fmla="*/ 3 h 372"/>
                    <a:gd name="T8" fmla="*/ 5 w 375"/>
                    <a:gd name="T9" fmla="*/ 3 h 372"/>
                    <a:gd name="T10" fmla="*/ 6 w 375"/>
                    <a:gd name="T11" fmla="*/ 0 h 372"/>
                    <a:gd name="T12" fmla="*/ 7 w 375"/>
                    <a:gd name="T13" fmla="*/ 0 h 372"/>
                    <a:gd name="T14" fmla="*/ 7 w 375"/>
                    <a:gd name="T15" fmla="*/ 1 h 372"/>
                    <a:gd name="T16" fmla="*/ 9 w 375"/>
                    <a:gd name="T17" fmla="*/ 3 h 372"/>
                    <a:gd name="T18" fmla="*/ 8 w 375"/>
                    <a:gd name="T19" fmla="*/ 3 h 372"/>
                    <a:gd name="T20" fmla="*/ 6 w 375"/>
                    <a:gd name="T21" fmla="*/ 6 h 372"/>
                    <a:gd name="T22" fmla="*/ 6 w 375"/>
                    <a:gd name="T23" fmla="*/ 8 h 372"/>
                    <a:gd name="T24" fmla="*/ 5 w 375"/>
                    <a:gd name="T25" fmla="*/ 9 h 372"/>
                    <a:gd name="T26" fmla="*/ 3 w 375"/>
                    <a:gd name="T27" fmla="*/ 8 h 372"/>
                    <a:gd name="T28" fmla="*/ 3 w 375"/>
                    <a:gd name="T29" fmla="*/ 8 h 372"/>
                    <a:gd name="T30" fmla="*/ 2 w 375"/>
                    <a:gd name="T31" fmla="*/ 7 h 372"/>
                    <a:gd name="T32" fmla="*/ 1 w 375"/>
                    <a:gd name="T33" fmla="*/ 7 h 372"/>
                    <a:gd name="T34" fmla="*/ 0 w 375"/>
                    <a:gd name="T35" fmla="*/ 4 h 372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375"/>
                    <a:gd name="T55" fmla="*/ 0 h 372"/>
                    <a:gd name="T56" fmla="*/ 375 w 375"/>
                    <a:gd name="T57" fmla="*/ 372 h 372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375" h="372">
                      <a:moveTo>
                        <a:pt x="0" y="168"/>
                      </a:moveTo>
                      <a:lnTo>
                        <a:pt x="25" y="120"/>
                      </a:lnTo>
                      <a:lnTo>
                        <a:pt x="58" y="149"/>
                      </a:lnTo>
                      <a:lnTo>
                        <a:pt x="168" y="138"/>
                      </a:lnTo>
                      <a:lnTo>
                        <a:pt x="207" y="123"/>
                      </a:lnTo>
                      <a:lnTo>
                        <a:pt x="259" y="0"/>
                      </a:lnTo>
                      <a:lnTo>
                        <a:pt x="324" y="5"/>
                      </a:lnTo>
                      <a:lnTo>
                        <a:pt x="309" y="36"/>
                      </a:lnTo>
                      <a:lnTo>
                        <a:pt x="375" y="149"/>
                      </a:lnTo>
                      <a:lnTo>
                        <a:pt x="340" y="141"/>
                      </a:lnTo>
                      <a:lnTo>
                        <a:pt x="275" y="270"/>
                      </a:lnTo>
                      <a:lnTo>
                        <a:pt x="266" y="349"/>
                      </a:lnTo>
                      <a:lnTo>
                        <a:pt x="223" y="372"/>
                      </a:lnTo>
                      <a:lnTo>
                        <a:pt x="152" y="326"/>
                      </a:lnTo>
                      <a:lnTo>
                        <a:pt x="107" y="346"/>
                      </a:lnTo>
                      <a:lnTo>
                        <a:pt x="103" y="310"/>
                      </a:lnTo>
                      <a:lnTo>
                        <a:pt x="43" y="318"/>
                      </a:lnTo>
                      <a:lnTo>
                        <a:pt x="0" y="168"/>
                      </a:lnTo>
                      <a:close/>
                    </a:path>
                  </a:pathLst>
                </a:custGeom>
                <a:solidFill>
                  <a:srgbClr val="00336C"/>
                </a:solidFill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9" name="Freeform 352"/>
                <p:cNvSpPr/>
                <p:nvPr/>
              </p:nvSpPr>
              <p:spPr bwMode="auto">
                <a:xfrm>
                  <a:off x="3393412" y="4108434"/>
                  <a:ext cx="42118" cy="12729"/>
                </a:xfrm>
                <a:custGeom>
                  <a:avLst/>
                  <a:gdLst>
                    <a:gd name="T0" fmla="*/ 0 w 89"/>
                    <a:gd name="T1" fmla="*/ 0 h 28"/>
                    <a:gd name="T2" fmla="*/ 0 w 89"/>
                    <a:gd name="T3" fmla="*/ 1 h 28"/>
                    <a:gd name="T4" fmla="*/ 2 w 89"/>
                    <a:gd name="T5" fmla="*/ 0 h 28"/>
                    <a:gd name="T6" fmla="*/ 1 w 89"/>
                    <a:gd name="T7" fmla="*/ 0 h 28"/>
                    <a:gd name="T8" fmla="*/ 0 w 89"/>
                    <a:gd name="T9" fmla="*/ 0 h 2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9"/>
                    <a:gd name="T16" fmla="*/ 0 h 28"/>
                    <a:gd name="T17" fmla="*/ 89 w 89"/>
                    <a:gd name="T18" fmla="*/ 28 h 2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9" h="28">
                      <a:moveTo>
                        <a:pt x="0" y="5"/>
                      </a:moveTo>
                      <a:lnTo>
                        <a:pt x="11" y="28"/>
                      </a:lnTo>
                      <a:lnTo>
                        <a:pt x="89" y="9"/>
                      </a:lnTo>
                      <a:lnTo>
                        <a:pt x="27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0" name="Freeform 353"/>
                <p:cNvSpPr/>
                <p:nvPr/>
              </p:nvSpPr>
              <p:spPr bwMode="auto">
                <a:xfrm>
                  <a:off x="3430476" y="3903172"/>
                  <a:ext cx="114561" cy="149571"/>
                </a:xfrm>
                <a:custGeom>
                  <a:avLst/>
                  <a:gdLst>
                    <a:gd name="T0" fmla="*/ 0 w 236"/>
                    <a:gd name="T1" fmla="*/ 5 h 326"/>
                    <a:gd name="T2" fmla="*/ 1 w 236"/>
                    <a:gd name="T3" fmla="*/ 6 h 326"/>
                    <a:gd name="T4" fmla="*/ 0 w 236"/>
                    <a:gd name="T5" fmla="*/ 7 h 326"/>
                    <a:gd name="T6" fmla="*/ 1 w 236"/>
                    <a:gd name="T7" fmla="*/ 8 h 326"/>
                    <a:gd name="T8" fmla="*/ 1 w 236"/>
                    <a:gd name="T9" fmla="*/ 5 h 326"/>
                    <a:gd name="T10" fmla="*/ 2 w 236"/>
                    <a:gd name="T11" fmla="*/ 5 h 326"/>
                    <a:gd name="T12" fmla="*/ 2 w 236"/>
                    <a:gd name="T13" fmla="*/ 6 h 326"/>
                    <a:gd name="T14" fmla="*/ 3 w 236"/>
                    <a:gd name="T15" fmla="*/ 7 h 326"/>
                    <a:gd name="T16" fmla="*/ 3 w 236"/>
                    <a:gd name="T17" fmla="*/ 6 h 326"/>
                    <a:gd name="T18" fmla="*/ 2 w 236"/>
                    <a:gd name="T19" fmla="*/ 4 h 326"/>
                    <a:gd name="T20" fmla="*/ 4 w 236"/>
                    <a:gd name="T21" fmla="*/ 3 h 326"/>
                    <a:gd name="T22" fmla="*/ 2 w 236"/>
                    <a:gd name="T23" fmla="*/ 3 h 326"/>
                    <a:gd name="T24" fmla="*/ 1 w 236"/>
                    <a:gd name="T25" fmla="*/ 1 h 326"/>
                    <a:gd name="T26" fmla="*/ 5 w 236"/>
                    <a:gd name="T27" fmla="*/ 1 h 326"/>
                    <a:gd name="T28" fmla="*/ 6 w 236"/>
                    <a:gd name="T29" fmla="*/ 0 h 326"/>
                    <a:gd name="T30" fmla="*/ 5 w 236"/>
                    <a:gd name="T31" fmla="*/ 1 h 326"/>
                    <a:gd name="T32" fmla="*/ 2 w 236"/>
                    <a:gd name="T33" fmla="*/ 0 h 326"/>
                    <a:gd name="T34" fmla="*/ 1 w 236"/>
                    <a:gd name="T35" fmla="*/ 1 h 326"/>
                    <a:gd name="T36" fmla="*/ 0 w 236"/>
                    <a:gd name="T37" fmla="*/ 5 h 32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236"/>
                    <a:gd name="T58" fmla="*/ 0 h 326"/>
                    <a:gd name="T59" fmla="*/ 236 w 236"/>
                    <a:gd name="T60" fmla="*/ 326 h 32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236" h="326">
                      <a:moveTo>
                        <a:pt x="0" y="195"/>
                      </a:moveTo>
                      <a:lnTo>
                        <a:pt x="32" y="253"/>
                      </a:lnTo>
                      <a:lnTo>
                        <a:pt x="19" y="313"/>
                      </a:lnTo>
                      <a:lnTo>
                        <a:pt x="58" y="326"/>
                      </a:lnTo>
                      <a:lnTo>
                        <a:pt x="56" y="206"/>
                      </a:lnTo>
                      <a:lnTo>
                        <a:pt x="80" y="195"/>
                      </a:lnTo>
                      <a:lnTo>
                        <a:pt x="83" y="238"/>
                      </a:lnTo>
                      <a:lnTo>
                        <a:pt x="105" y="292"/>
                      </a:lnTo>
                      <a:lnTo>
                        <a:pt x="146" y="268"/>
                      </a:lnTo>
                      <a:lnTo>
                        <a:pt x="95" y="158"/>
                      </a:lnTo>
                      <a:lnTo>
                        <a:pt x="174" y="107"/>
                      </a:lnTo>
                      <a:lnTo>
                        <a:pt x="68" y="139"/>
                      </a:lnTo>
                      <a:lnTo>
                        <a:pt x="53" y="66"/>
                      </a:lnTo>
                      <a:lnTo>
                        <a:pt x="209" y="60"/>
                      </a:lnTo>
                      <a:lnTo>
                        <a:pt x="236" y="0"/>
                      </a:lnTo>
                      <a:lnTo>
                        <a:pt x="190" y="37"/>
                      </a:lnTo>
                      <a:lnTo>
                        <a:pt x="80" y="19"/>
                      </a:lnTo>
                      <a:lnTo>
                        <a:pt x="43" y="45"/>
                      </a:lnTo>
                      <a:lnTo>
                        <a:pt x="0" y="19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1" name="Freeform 354"/>
                <p:cNvSpPr/>
                <p:nvPr/>
              </p:nvSpPr>
              <p:spPr bwMode="auto">
                <a:xfrm>
                  <a:off x="3519767" y="4108434"/>
                  <a:ext cx="64019" cy="38188"/>
                </a:xfrm>
                <a:custGeom>
                  <a:avLst/>
                  <a:gdLst>
                    <a:gd name="T0" fmla="*/ 0 w 130"/>
                    <a:gd name="T1" fmla="*/ 1 h 84"/>
                    <a:gd name="T2" fmla="*/ 0 w 130"/>
                    <a:gd name="T3" fmla="*/ 2 h 84"/>
                    <a:gd name="T4" fmla="*/ 3 w 130"/>
                    <a:gd name="T5" fmla="*/ 0 h 84"/>
                    <a:gd name="T6" fmla="*/ 1 w 130"/>
                    <a:gd name="T7" fmla="*/ 1 h 84"/>
                    <a:gd name="T8" fmla="*/ 0 w 130"/>
                    <a:gd name="T9" fmla="*/ 1 h 8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30"/>
                    <a:gd name="T16" fmla="*/ 0 h 84"/>
                    <a:gd name="T17" fmla="*/ 130 w 130"/>
                    <a:gd name="T18" fmla="*/ 84 h 8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30" h="84">
                      <a:moveTo>
                        <a:pt x="0" y="50"/>
                      </a:moveTo>
                      <a:lnTo>
                        <a:pt x="5" y="84"/>
                      </a:lnTo>
                      <a:lnTo>
                        <a:pt x="130" y="0"/>
                      </a:lnTo>
                      <a:lnTo>
                        <a:pt x="37" y="27"/>
                      </a:lnTo>
                      <a:lnTo>
                        <a:pt x="0" y="5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2" name="Freeform 355"/>
                <p:cNvSpPr/>
                <p:nvPr/>
              </p:nvSpPr>
              <p:spPr bwMode="auto">
                <a:xfrm>
                  <a:off x="3585471" y="3896807"/>
                  <a:ext cx="23586" cy="58874"/>
                </a:xfrm>
                <a:custGeom>
                  <a:avLst/>
                  <a:gdLst>
                    <a:gd name="T0" fmla="*/ 0 w 47"/>
                    <a:gd name="T1" fmla="*/ 1 h 131"/>
                    <a:gd name="T2" fmla="*/ 0 w 47"/>
                    <a:gd name="T3" fmla="*/ 2 h 131"/>
                    <a:gd name="T4" fmla="*/ 1 w 47"/>
                    <a:gd name="T5" fmla="*/ 3 h 131"/>
                    <a:gd name="T6" fmla="*/ 1 w 47"/>
                    <a:gd name="T7" fmla="*/ 2 h 131"/>
                    <a:gd name="T8" fmla="*/ 1 w 47"/>
                    <a:gd name="T9" fmla="*/ 1 h 131"/>
                    <a:gd name="T10" fmla="*/ 1 w 47"/>
                    <a:gd name="T11" fmla="*/ 1 h 131"/>
                    <a:gd name="T12" fmla="*/ 0 w 47"/>
                    <a:gd name="T13" fmla="*/ 1 h 131"/>
                    <a:gd name="T14" fmla="*/ 1 w 47"/>
                    <a:gd name="T15" fmla="*/ 0 h 131"/>
                    <a:gd name="T16" fmla="*/ 0 w 47"/>
                    <a:gd name="T17" fmla="*/ 1 h 13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7"/>
                    <a:gd name="T28" fmla="*/ 0 h 131"/>
                    <a:gd name="T29" fmla="*/ 47 w 47"/>
                    <a:gd name="T30" fmla="*/ 131 h 13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7" h="131">
                      <a:moveTo>
                        <a:pt x="0" y="45"/>
                      </a:moveTo>
                      <a:lnTo>
                        <a:pt x="12" y="105"/>
                      </a:lnTo>
                      <a:lnTo>
                        <a:pt x="37" y="131"/>
                      </a:lnTo>
                      <a:lnTo>
                        <a:pt x="19" y="76"/>
                      </a:lnTo>
                      <a:lnTo>
                        <a:pt x="47" y="69"/>
                      </a:lnTo>
                      <a:lnTo>
                        <a:pt x="45" y="27"/>
                      </a:lnTo>
                      <a:lnTo>
                        <a:pt x="12" y="53"/>
                      </a:lnTo>
                      <a:lnTo>
                        <a:pt x="24" y="0"/>
                      </a:lnTo>
                      <a:lnTo>
                        <a:pt x="0" y="4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3" name="Freeform 356"/>
                <p:cNvSpPr/>
                <p:nvPr/>
              </p:nvSpPr>
              <p:spPr bwMode="auto">
                <a:xfrm>
                  <a:off x="3595579" y="3993869"/>
                  <a:ext cx="52226" cy="19094"/>
                </a:xfrm>
                <a:custGeom>
                  <a:avLst/>
                  <a:gdLst>
                    <a:gd name="T0" fmla="*/ 0 w 109"/>
                    <a:gd name="T1" fmla="*/ 0 h 42"/>
                    <a:gd name="T2" fmla="*/ 1 w 109"/>
                    <a:gd name="T3" fmla="*/ 0 h 42"/>
                    <a:gd name="T4" fmla="*/ 3 w 109"/>
                    <a:gd name="T5" fmla="*/ 1 h 42"/>
                    <a:gd name="T6" fmla="*/ 0 w 109"/>
                    <a:gd name="T7" fmla="*/ 0 h 4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09"/>
                    <a:gd name="T13" fmla="*/ 0 h 42"/>
                    <a:gd name="T14" fmla="*/ 109 w 109"/>
                    <a:gd name="T15" fmla="*/ 42 h 4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09" h="42">
                      <a:moveTo>
                        <a:pt x="0" y="15"/>
                      </a:moveTo>
                      <a:lnTo>
                        <a:pt x="60" y="0"/>
                      </a:lnTo>
                      <a:lnTo>
                        <a:pt x="109" y="42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4" name="Freeform 357"/>
                <p:cNvSpPr/>
                <p:nvPr/>
              </p:nvSpPr>
              <p:spPr bwMode="auto">
                <a:xfrm>
                  <a:off x="3649490" y="3947725"/>
                  <a:ext cx="192058" cy="173438"/>
                </a:xfrm>
                <a:custGeom>
                  <a:avLst/>
                  <a:gdLst>
                    <a:gd name="T0" fmla="*/ 0 w 400"/>
                    <a:gd name="T1" fmla="*/ 1 h 384"/>
                    <a:gd name="T2" fmla="*/ 1 w 400"/>
                    <a:gd name="T3" fmla="*/ 2 h 384"/>
                    <a:gd name="T4" fmla="*/ 3 w 400"/>
                    <a:gd name="T5" fmla="*/ 2 h 384"/>
                    <a:gd name="T6" fmla="*/ 1 w 400"/>
                    <a:gd name="T7" fmla="*/ 2 h 384"/>
                    <a:gd name="T8" fmla="*/ 2 w 400"/>
                    <a:gd name="T9" fmla="*/ 4 h 384"/>
                    <a:gd name="T10" fmla="*/ 3 w 400"/>
                    <a:gd name="T11" fmla="*/ 3 h 384"/>
                    <a:gd name="T12" fmla="*/ 3 w 400"/>
                    <a:gd name="T13" fmla="*/ 4 h 384"/>
                    <a:gd name="T14" fmla="*/ 7 w 400"/>
                    <a:gd name="T15" fmla="*/ 5 h 384"/>
                    <a:gd name="T16" fmla="*/ 7 w 400"/>
                    <a:gd name="T17" fmla="*/ 7 h 384"/>
                    <a:gd name="T18" fmla="*/ 7 w 400"/>
                    <a:gd name="T19" fmla="*/ 7 h 384"/>
                    <a:gd name="T20" fmla="*/ 6 w 400"/>
                    <a:gd name="T21" fmla="*/ 8 h 384"/>
                    <a:gd name="T22" fmla="*/ 8 w 400"/>
                    <a:gd name="T23" fmla="*/ 8 h 384"/>
                    <a:gd name="T24" fmla="*/ 9 w 400"/>
                    <a:gd name="T25" fmla="*/ 9 h 384"/>
                    <a:gd name="T26" fmla="*/ 9 w 400"/>
                    <a:gd name="T27" fmla="*/ 2 h 384"/>
                    <a:gd name="T28" fmla="*/ 6 w 400"/>
                    <a:gd name="T29" fmla="*/ 1 h 384"/>
                    <a:gd name="T30" fmla="*/ 4 w 400"/>
                    <a:gd name="T31" fmla="*/ 3 h 384"/>
                    <a:gd name="T32" fmla="*/ 3 w 400"/>
                    <a:gd name="T33" fmla="*/ 2 h 384"/>
                    <a:gd name="T34" fmla="*/ 3 w 400"/>
                    <a:gd name="T35" fmla="*/ 0 h 384"/>
                    <a:gd name="T36" fmla="*/ 1 w 400"/>
                    <a:gd name="T37" fmla="*/ 0 h 384"/>
                    <a:gd name="T38" fmla="*/ 0 w 400"/>
                    <a:gd name="T39" fmla="*/ 1 h 384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400"/>
                    <a:gd name="T61" fmla="*/ 0 h 384"/>
                    <a:gd name="T62" fmla="*/ 400 w 400"/>
                    <a:gd name="T63" fmla="*/ 384 h 384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400" h="384">
                      <a:moveTo>
                        <a:pt x="0" y="47"/>
                      </a:moveTo>
                      <a:lnTo>
                        <a:pt x="62" y="84"/>
                      </a:lnTo>
                      <a:lnTo>
                        <a:pt x="118" y="76"/>
                      </a:lnTo>
                      <a:lnTo>
                        <a:pt x="42" y="103"/>
                      </a:lnTo>
                      <a:lnTo>
                        <a:pt x="81" y="164"/>
                      </a:lnTo>
                      <a:lnTo>
                        <a:pt x="114" y="112"/>
                      </a:lnTo>
                      <a:lnTo>
                        <a:pt x="140" y="164"/>
                      </a:lnTo>
                      <a:lnTo>
                        <a:pt x="282" y="223"/>
                      </a:lnTo>
                      <a:lnTo>
                        <a:pt x="315" y="315"/>
                      </a:lnTo>
                      <a:lnTo>
                        <a:pt x="289" y="312"/>
                      </a:lnTo>
                      <a:lnTo>
                        <a:pt x="266" y="356"/>
                      </a:lnTo>
                      <a:lnTo>
                        <a:pt x="352" y="334"/>
                      </a:lnTo>
                      <a:lnTo>
                        <a:pt x="400" y="384"/>
                      </a:lnTo>
                      <a:lnTo>
                        <a:pt x="394" y="99"/>
                      </a:lnTo>
                      <a:lnTo>
                        <a:pt x="271" y="47"/>
                      </a:lnTo>
                      <a:lnTo>
                        <a:pt x="171" y="130"/>
                      </a:lnTo>
                      <a:lnTo>
                        <a:pt x="133" y="89"/>
                      </a:lnTo>
                      <a:lnTo>
                        <a:pt x="119" y="19"/>
                      </a:lnTo>
                      <a:lnTo>
                        <a:pt x="62" y="0"/>
                      </a:lnTo>
                      <a:lnTo>
                        <a:pt x="0" y="4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5" name="Freeform 358"/>
                <p:cNvSpPr/>
                <p:nvPr/>
              </p:nvSpPr>
              <p:spPr bwMode="auto">
                <a:xfrm>
                  <a:off x="3654544" y="4081383"/>
                  <a:ext cx="10108" cy="15912"/>
                </a:xfrm>
                <a:custGeom>
                  <a:avLst/>
                  <a:gdLst>
                    <a:gd name="T0" fmla="*/ 0 w 19"/>
                    <a:gd name="T1" fmla="*/ 1 h 33"/>
                    <a:gd name="T2" fmla="*/ 0 w 19"/>
                    <a:gd name="T3" fmla="*/ 0 h 33"/>
                    <a:gd name="T4" fmla="*/ 1 w 19"/>
                    <a:gd name="T5" fmla="*/ 1 h 33"/>
                    <a:gd name="T6" fmla="*/ 0 w 19"/>
                    <a:gd name="T7" fmla="*/ 1 h 3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9"/>
                    <a:gd name="T13" fmla="*/ 0 h 33"/>
                    <a:gd name="T14" fmla="*/ 19 w 19"/>
                    <a:gd name="T15" fmla="*/ 33 h 3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9" h="33">
                      <a:moveTo>
                        <a:pt x="0" y="33"/>
                      </a:moveTo>
                      <a:lnTo>
                        <a:pt x="11" y="0"/>
                      </a:lnTo>
                      <a:lnTo>
                        <a:pt x="19" y="18"/>
                      </a:lnTo>
                      <a:lnTo>
                        <a:pt x="0" y="3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6" name="Freeform 359"/>
                <p:cNvSpPr/>
                <p:nvPr/>
              </p:nvSpPr>
              <p:spPr bwMode="auto">
                <a:xfrm>
                  <a:off x="2059111" y="3098035"/>
                  <a:ext cx="350422" cy="329374"/>
                </a:xfrm>
                <a:custGeom>
                  <a:avLst/>
                  <a:gdLst>
                    <a:gd name="T0" fmla="*/ 0 w 730"/>
                    <a:gd name="T1" fmla="*/ 1 h 725"/>
                    <a:gd name="T2" fmla="*/ 1 w 730"/>
                    <a:gd name="T3" fmla="*/ 0 h 725"/>
                    <a:gd name="T4" fmla="*/ 2 w 730"/>
                    <a:gd name="T5" fmla="*/ 1 h 725"/>
                    <a:gd name="T6" fmla="*/ 3 w 730"/>
                    <a:gd name="T7" fmla="*/ 0 h 725"/>
                    <a:gd name="T8" fmla="*/ 4 w 730"/>
                    <a:gd name="T9" fmla="*/ 1 h 725"/>
                    <a:gd name="T10" fmla="*/ 4 w 730"/>
                    <a:gd name="T11" fmla="*/ 1 h 725"/>
                    <a:gd name="T12" fmla="*/ 5 w 730"/>
                    <a:gd name="T13" fmla="*/ 3 h 725"/>
                    <a:gd name="T14" fmla="*/ 7 w 730"/>
                    <a:gd name="T15" fmla="*/ 4 h 725"/>
                    <a:gd name="T16" fmla="*/ 9 w 730"/>
                    <a:gd name="T17" fmla="*/ 3 h 725"/>
                    <a:gd name="T18" fmla="*/ 9 w 730"/>
                    <a:gd name="T19" fmla="*/ 3 h 725"/>
                    <a:gd name="T20" fmla="*/ 11 w 730"/>
                    <a:gd name="T21" fmla="*/ 2 h 725"/>
                    <a:gd name="T22" fmla="*/ 15 w 730"/>
                    <a:gd name="T23" fmla="*/ 4 h 725"/>
                    <a:gd name="T24" fmla="*/ 15 w 730"/>
                    <a:gd name="T25" fmla="*/ 5 h 725"/>
                    <a:gd name="T26" fmla="*/ 15 w 730"/>
                    <a:gd name="T27" fmla="*/ 7 h 725"/>
                    <a:gd name="T28" fmla="*/ 15 w 730"/>
                    <a:gd name="T29" fmla="*/ 9 h 725"/>
                    <a:gd name="T30" fmla="*/ 15 w 730"/>
                    <a:gd name="T31" fmla="*/ 10 h 725"/>
                    <a:gd name="T32" fmla="*/ 15 w 730"/>
                    <a:gd name="T33" fmla="*/ 12 h 725"/>
                    <a:gd name="T34" fmla="*/ 17 w 730"/>
                    <a:gd name="T35" fmla="*/ 15 h 725"/>
                    <a:gd name="T36" fmla="*/ 15 w 730"/>
                    <a:gd name="T37" fmla="*/ 17 h 725"/>
                    <a:gd name="T38" fmla="*/ 12 w 730"/>
                    <a:gd name="T39" fmla="*/ 16 h 725"/>
                    <a:gd name="T40" fmla="*/ 11 w 730"/>
                    <a:gd name="T41" fmla="*/ 15 h 725"/>
                    <a:gd name="T42" fmla="*/ 8 w 730"/>
                    <a:gd name="T43" fmla="*/ 15 h 725"/>
                    <a:gd name="T44" fmla="*/ 7 w 730"/>
                    <a:gd name="T45" fmla="*/ 14 h 725"/>
                    <a:gd name="T46" fmla="*/ 5 w 730"/>
                    <a:gd name="T47" fmla="*/ 11 h 725"/>
                    <a:gd name="T48" fmla="*/ 4 w 730"/>
                    <a:gd name="T49" fmla="*/ 11 h 725"/>
                    <a:gd name="T50" fmla="*/ 4 w 730"/>
                    <a:gd name="T51" fmla="*/ 11 h 725"/>
                    <a:gd name="T52" fmla="*/ 3 w 730"/>
                    <a:gd name="T53" fmla="*/ 9 h 725"/>
                    <a:gd name="T54" fmla="*/ 1 w 730"/>
                    <a:gd name="T55" fmla="*/ 7 h 725"/>
                    <a:gd name="T56" fmla="*/ 2 w 730"/>
                    <a:gd name="T57" fmla="*/ 5 h 725"/>
                    <a:gd name="T58" fmla="*/ 1 w 730"/>
                    <a:gd name="T59" fmla="*/ 5 h 725"/>
                    <a:gd name="T60" fmla="*/ 1 w 730"/>
                    <a:gd name="T61" fmla="*/ 3 h 725"/>
                    <a:gd name="T62" fmla="*/ 0 w 730"/>
                    <a:gd name="T63" fmla="*/ 1 h 725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730"/>
                    <a:gd name="T97" fmla="*/ 0 h 725"/>
                    <a:gd name="T98" fmla="*/ 730 w 730"/>
                    <a:gd name="T99" fmla="*/ 725 h 725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730" h="725">
                      <a:moveTo>
                        <a:pt x="0" y="24"/>
                      </a:moveTo>
                      <a:lnTo>
                        <a:pt x="20" y="0"/>
                      </a:lnTo>
                      <a:lnTo>
                        <a:pt x="76" y="54"/>
                      </a:lnTo>
                      <a:lnTo>
                        <a:pt x="144" y="10"/>
                      </a:lnTo>
                      <a:lnTo>
                        <a:pt x="153" y="53"/>
                      </a:lnTo>
                      <a:lnTo>
                        <a:pt x="185" y="68"/>
                      </a:lnTo>
                      <a:lnTo>
                        <a:pt x="193" y="114"/>
                      </a:lnTo>
                      <a:lnTo>
                        <a:pt x="292" y="166"/>
                      </a:lnTo>
                      <a:lnTo>
                        <a:pt x="383" y="150"/>
                      </a:lnTo>
                      <a:lnTo>
                        <a:pt x="374" y="123"/>
                      </a:lnTo>
                      <a:lnTo>
                        <a:pt x="497" y="77"/>
                      </a:lnTo>
                      <a:lnTo>
                        <a:pt x="653" y="158"/>
                      </a:lnTo>
                      <a:lnTo>
                        <a:pt x="655" y="204"/>
                      </a:lnTo>
                      <a:lnTo>
                        <a:pt x="630" y="287"/>
                      </a:lnTo>
                      <a:lnTo>
                        <a:pt x="636" y="406"/>
                      </a:lnTo>
                      <a:lnTo>
                        <a:pt x="672" y="441"/>
                      </a:lnTo>
                      <a:lnTo>
                        <a:pt x="644" y="499"/>
                      </a:lnTo>
                      <a:lnTo>
                        <a:pt x="730" y="632"/>
                      </a:lnTo>
                      <a:lnTo>
                        <a:pt x="671" y="725"/>
                      </a:lnTo>
                      <a:lnTo>
                        <a:pt x="510" y="693"/>
                      </a:lnTo>
                      <a:lnTo>
                        <a:pt x="474" y="633"/>
                      </a:lnTo>
                      <a:lnTo>
                        <a:pt x="361" y="655"/>
                      </a:lnTo>
                      <a:lnTo>
                        <a:pt x="279" y="597"/>
                      </a:lnTo>
                      <a:lnTo>
                        <a:pt x="223" y="484"/>
                      </a:lnTo>
                      <a:lnTo>
                        <a:pt x="183" y="468"/>
                      </a:lnTo>
                      <a:lnTo>
                        <a:pt x="171" y="490"/>
                      </a:lnTo>
                      <a:lnTo>
                        <a:pt x="121" y="377"/>
                      </a:lnTo>
                      <a:lnTo>
                        <a:pt x="50" y="310"/>
                      </a:lnTo>
                      <a:lnTo>
                        <a:pt x="82" y="204"/>
                      </a:lnTo>
                      <a:lnTo>
                        <a:pt x="52" y="192"/>
                      </a:lnTo>
                      <a:lnTo>
                        <a:pt x="28" y="134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7" name="Freeform 360"/>
                <p:cNvSpPr/>
                <p:nvPr/>
              </p:nvSpPr>
              <p:spPr bwMode="auto">
                <a:xfrm>
                  <a:off x="1958028" y="3160091"/>
                  <a:ext cx="183635" cy="181394"/>
                </a:xfrm>
                <a:custGeom>
                  <a:avLst/>
                  <a:gdLst>
                    <a:gd name="T0" fmla="*/ 0 w 379"/>
                    <a:gd name="T1" fmla="*/ 5 h 402"/>
                    <a:gd name="T2" fmla="*/ 0 w 379"/>
                    <a:gd name="T3" fmla="*/ 6 h 402"/>
                    <a:gd name="T4" fmla="*/ 5 w 379"/>
                    <a:gd name="T5" fmla="*/ 8 h 402"/>
                    <a:gd name="T6" fmla="*/ 5 w 379"/>
                    <a:gd name="T7" fmla="*/ 9 h 402"/>
                    <a:gd name="T8" fmla="*/ 6 w 379"/>
                    <a:gd name="T9" fmla="*/ 9 h 402"/>
                    <a:gd name="T10" fmla="*/ 7 w 379"/>
                    <a:gd name="T11" fmla="*/ 9 h 402"/>
                    <a:gd name="T12" fmla="*/ 9 w 379"/>
                    <a:gd name="T13" fmla="*/ 8 h 402"/>
                    <a:gd name="T14" fmla="*/ 9 w 379"/>
                    <a:gd name="T15" fmla="*/ 8 h 402"/>
                    <a:gd name="T16" fmla="*/ 8 w 379"/>
                    <a:gd name="T17" fmla="*/ 6 h 402"/>
                    <a:gd name="T18" fmla="*/ 6 w 379"/>
                    <a:gd name="T19" fmla="*/ 4 h 402"/>
                    <a:gd name="T20" fmla="*/ 7 w 379"/>
                    <a:gd name="T21" fmla="*/ 2 h 402"/>
                    <a:gd name="T22" fmla="*/ 6 w 379"/>
                    <a:gd name="T23" fmla="*/ 1 h 402"/>
                    <a:gd name="T24" fmla="*/ 6 w 379"/>
                    <a:gd name="T25" fmla="*/ 0 h 402"/>
                    <a:gd name="T26" fmla="*/ 3 w 379"/>
                    <a:gd name="T27" fmla="*/ 0 h 402"/>
                    <a:gd name="T28" fmla="*/ 3 w 379"/>
                    <a:gd name="T29" fmla="*/ 1 h 402"/>
                    <a:gd name="T30" fmla="*/ 2 w 379"/>
                    <a:gd name="T31" fmla="*/ 3 h 402"/>
                    <a:gd name="T32" fmla="*/ 0 w 379"/>
                    <a:gd name="T33" fmla="*/ 5 h 40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379"/>
                    <a:gd name="T52" fmla="*/ 0 h 402"/>
                    <a:gd name="T53" fmla="*/ 379 w 379"/>
                    <a:gd name="T54" fmla="*/ 402 h 40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379" h="402">
                      <a:moveTo>
                        <a:pt x="0" y="195"/>
                      </a:moveTo>
                      <a:lnTo>
                        <a:pt x="18" y="253"/>
                      </a:lnTo>
                      <a:lnTo>
                        <a:pt x="191" y="342"/>
                      </a:lnTo>
                      <a:lnTo>
                        <a:pt x="192" y="373"/>
                      </a:lnTo>
                      <a:lnTo>
                        <a:pt x="235" y="396"/>
                      </a:lnTo>
                      <a:lnTo>
                        <a:pt x="301" y="402"/>
                      </a:lnTo>
                      <a:lnTo>
                        <a:pt x="360" y="360"/>
                      </a:lnTo>
                      <a:lnTo>
                        <a:pt x="379" y="356"/>
                      </a:lnTo>
                      <a:lnTo>
                        <a:pt x="329" y="243"/>
                      </a:lnTo>
                      <a:lnTo>
                        <a:pt x="258" y="176"/>
                      </a:lnTo>
                      <a:lnTo>
                        <a:pt x="290" y="70"/>
                      </a:lnTo>
                      <a:lnTo>
                        <a:pt x="260" y="58"/>
                      </a:lnTo>
                      <a:lnTo>
                        <a:pt x="236" y="0"/>
                      </a:lnTo>
                      <a:lnTo>
                        <a:pt x="151" y="4"/>
                      </a:lnTo>
                      <a:lnTo>
                        <a:pt x="109" y="41"/>
                      </a:lnTo>
                      <a:lnTo>
                        <a:pt x="93" y="139"/>
                      </a:lnTo>
                      <a:lnTo>
                        <a:pt x="0" y="19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8" name="Freeform 361"/>
                <p:cNvSpPr/>
                <p:nvPr/>
              </p:nvSpPr>
              <p:spPr bwMode="auto">
                <a:xfrm>
                  <a:off x="1373429" y="2923006"/>
                  <a:ext cx="213960" cy="219583"/>
                </a:xfrm>
                <a:custGeom>
                  <a:avLst/>
                  <a:gdLst>
                    <a:gd name="T0" fmla="*/ 0 w 446"/>
                    <a:gd name="T1" fmla="*/ 3 h 487"/>
                    <a:gd name="T2" fmla="*/ 0 w 446"/>
                    <a:gd name="T3" fmla="*/ 1 h 487"/>
                    <a:gd name="T4" fmla="*/ 1 w 446"/>
                    <a:gd name="T5" fmla="*/ 1 h 487"/>
                    <a:gd name="T6" fmla="*/ 2 w 446"/>
                    <a:gd name="T7" fmla="*/ 1 h 487"/>
                    <a:gd name="T8" fmla="*/ 3 w 446"/>
                    <a:gd name="T9" fmla="*/ 0 h 487"/>
                    <a:gd name="T10" fmla="*/ 5 w 446"/>
                    <a:gd name="T11" fmla="*/ 0 h 487"/>
                    <a:gd name="T12" fmla="*/ 6 w 446"/>
                    <a:gd name="T13" fmla="*/ 1 h 487"/>
                    <a:gd name="T14" fmla="*/ 6 w 446"/>
                    <a:gd name="T15" fmla="*/ 2 h 487"/>
                    <a:gd name="T16" fmla="*/ 5 w 446"/>
                    <a:gd name="T17" fmla="*/ 2 h 487"/>
                    <a:gd name="T18" fmla="*/ 5 w 446"/>
                    <a:gd name="T19" fmla="*/ 4 h 487"/>
                    <a:gd name="T20" fmla="*/ 7 w 446"/>
                    <a:gd name="T21" fmla="*/ 6 h 487"/>
                    <a:gd name="T22" fmla="*/ 8 w 446"/>
                    <a:gd name="T23" fmla="*/ 7 h 487"/>
                    <a:gd name="T24" fmla="*/ 8 w 446"/>
                    <a:gd name="T25" fmla="*/ 7 h 487"/>
                    <a:gd name="T26" fmla="*/ 10 w 446"/>
                    <a:gd name="T27" fmla="*/ 9 h 487"/>
                    <a:gd name="T28" fmla="*/ 9 w 446"/>
                    <a:gd name="T29" fmla="*/ 8 h 487"/>
                    <a:gd name="T30" fmla="*/ 9 w 446"/>
                    <a:gd name="T31" fmla="*/ 10 h 487"/>
                    <a:gd name="T32" fmla="*/ 8 w 446"/>
                    <a:gd name="T33" fmla="*/ 11 h 487"/>
                    <a:gd name="T34" fmla="*/ 8 w 446"/>
                    <a:gd name="T35" fmla="*/ 9 h 487"/>
                    <a:gd name="T36" fmla="*/ 4 w 446"/>
                    <a:gd name="T37" fmla="*/ 6 h 487"/>
                    <a:gd name="T38" fmla="*/ 3 w 446"/>
                    <a:gd name="T39" fmla="*/ 4 h 487"/>
                    <a:gd name="T40" fmla="*/ 2 w 446"/>
                    <a:gd name="T41" fmla="*/ 3 h 487"/>
                    <a:gd name="T42" fmla="*/ 1 w 446"/>
                    <a:gd name="T43" fmla="*/ 4 h 487"/>
                    <a:gd name="T44" fmla="*/ 0 w 446"/>
                    <a:gd name="T45" fmla="*/ 3 h 487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446"/>
                    <a:gd name="T70" fmla="*/ 0 h 487"/>
                    <a:gd name="T71" fmla="*/ 446 w 446"/>
                    <a:gd name="T72" fmla="*/ 487 h 487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446" h="487">
                      <a:moveTo>
                        <a:pt x="0" y="122"/>
                      </a:moveTo>
                      <a:lnTo>
                        <a:pt x="11" y="67"/>
                      </a:lnTo>
                      <a:lnTo>
                        <a:pt x="64" y="39"/>
                      </a:lnTo>
                      <a:lnTo>
                        <a:pt x="87" y="65"/>
                      </a:lnTo>
                      <a:lnTo>
                        <a:pt x="141" y="13"/>
                      </a:lnTo>
                      <a:lnTo>
                        <a:pt x="199" y="0"/>
                      </a:lnTo>
                      <a:lnTo>
                        <a:pt x="266" y="35"/>
                      </a:lnTo>
                      <a:lnTo>
                        <a:pt x="266" y="88"/>
                      </a:lnTo>
                      <a:lnTo>
                        <a:pt x="215" y="97"/>
                      </a:lnTo>
                      <a:lnTo>
                        <a:pt x="220" y="164"/>
                      </a:lnTo>
                      <a:lnTo>
                        <a:pt x="305" y="273"/>
                      </a:lnTo>
                      <a:lnTo>
                        <a:pt x="357" y="281"/>
                      </a:lnTo>
                      <a:lnTo>
                        <a:pt x="351" y="302"/>
                      </a:lnTo>
                      <a:lnTo>
                        <a:pt x="446" y="376"/>
                      </a:lnTo>
                      <a:lnTo>
                        <a:pt x="381" y="362"/>
                      </a:lnTo>
                      <a:lnTo>
                        <a:pt x="396" y="433"/>
                      </a:lnTo>
                      <a:lnTo>
                        <a:pt x="357" y="487"/>
                      </a:lnTo>
                      <a:lnTo>
                        <a:pt x="336" y="377"/>
                      </a:lnTo>
                      <a:lnTo>
                        <a:pt x="170" y="254"/>
                      </a:lnTo>
                      <a:lnTo>
                        <a:pt x="131" y="174"/>
                      </a:lnTo>
                      <a:lnTo>
                        <a:pt x="77" y="146"/>
                      </a:lnTo>
                      <a:lnTo>
                        <a:pt x="26" y="181"/>
                      </a:lnTo>
                      <a:lnTo>
                        <a:pt x="0" y="12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19" name="Freeform 362"/>
                <p:cNvSpPr/>
                <p:nvPr/>
              </p:nvSpPr>
              <p:spPr bwMode="auto">
                <a:xfrm>
                  <a:off x="1400385" y="3064621"/>
                  <a:ext cx="25271" cy="54100"/>
                </a:xfrm>
                <a:custGeom>
                  <a:avLst/>
                  <a:gdLst>
                    <a:gd name="T0" fmla="*/ 0 w 53"/>
                    <a:gd name="T1" fmla="*/ 0 h 119"/>
                    <a:gd name="T2" fmla="*/ 0 w 53"/>
                    <a:gd name="T3" fmla="*/ 3 h 119"/>
                    <a:gd name="T4" fmla="*/ 1 w 53"/>
                    <a:gd name="T5" fmla="*/ 3 h 119"/>
                    <a:gd name="T6" fmla="*/ 1 w 53"/>
                    <a:gd name="T7" fmla="*/ 1 h 119"/>
                    <a:gd name="T8" fmla="*/ 1 w 53"/>
                    <a:gd name="T9" fmla="*/ 0 h 119"/>
                    <a:gd name="T10" fmla="*/ 0 w 53"/>
                    <a:gd name="T11" fmla="*/ 0 h 119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3"/>
                    <a:gd name="T19" fmla="*/ 0 h 119"/>
                    <a:gd name="T20" fmla="*/ 53 w 53"/>
                    <a:gd name="T21" fmla="*/ 119 h 119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3" h="119">
                      <a:moveTo>
                        <a:pt x="0" y="19"/>
                      </a:moveTo>
                      <a:lnTo>
                        <a:pt x="8" y="111"/>
                      </a:lnTo>
                      <a:lnTo>
                        <a:pt x="34" y="119"/>
                      </a:lnTo>
                      <a:lnTo>
                        <a:pt x="53" y="47"/>
                      </a:lnTo>
                      <a:lnTo>
                        <a:pt x="35" y="0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0" name="Freeform 363"/>
                <p:cNvSpPr/>
                <p:nvPr/>
              </p:nvSpPr>
              <p:spPr bwMode="auto">
                <a:xfrm>
                  <a:off x="1479567" y="3136224"/>
                  <a:ext cx="55596" cy="35006"/>
                </a:xfrm>
                <a:custGeom>
                  <a:avLst/>
                  <a:gdLst>
                    <a:gd name="T0" fmla="*/ 0 w 115"/>
                    <a:gd name="T1" fmla="*/ 0 h 76"/>
                    <a:gd name="T2" fmla="*/ 2 w 115"/>
                    <a:gd name="T3" fmla="*/ 2 h 76"/>
                    <a:gd name="T4" fmla="*/ 3 w 115"/>
                    <a:gd name="T5" fmla="*/ 0 h 76"/>
                    <a:gd name="T6" fmla="*/ 0 w 115"/>
                    <a:gd name="T7" fmla="*/ 0 h 7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15"/>
                    <a:gd name="T13" fmla="*/ 0 h 76"/>
                    <a:gd name="T14" fmla="*/ 115 w 115"/>
                    <a:gd name="T15" fmla="*/ 76 h 7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15" h="76">
                      <a:moveTo>
                        <a:pt x="0" y="15"/>
                      </a:moveTo>
                      <a:lnTo>
                        <a:pt x="97" y="76"/>
                      </a:lnTo>
                      <a:lnTo>
                        <a:pt x="115" y="0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1" name="Freeform 364"/>
                <p:cNvSpPr/>
                <p:nvPr/>
              </p:nvSpPr>
              <p:spPr bwMode="auto">
                <a:xfrm>
                  <a:off x="3627589" y="3238059"/>
                  <a:ext cx="43803" cy="55691"/>
                </a:xfrm>
                <a:custGeom>
                  <a:avLst/>
                  <a:gdLst>
                    <a:gd name="T0" fmla="*/ 0 w 90"/>
                    <a:gd name="T1" fmla="*/ 1 h 124"/>
                    <a:gd name="T2" fmla="*/ 0 w 90"/>
                    <a:gd name="T3" fmla="*/ 1 h 124"/>
                    <a:gd name="T4" fmla="*/ 1 w 90"/>
                    <a:gd name="T5" fmla="*/ 1 h 124"/>
                    <a:gd name="T6" fmla="*/ 1 w 90"/>
                    <a:gd name="T7" fmla="*/ 1 h 124"/>
                    <a:gd name="T8" fmla="*/ 1 w 90"/>
                    <a:gd name="T9" fmla="*/ 3 h 124"/>
                    <a:gd name="T10" fmla="*/ 1 w 90"/>
                    <a:gd name="T11" fmla="*/ 3 h 124"/>
                    <a:gd name="T12" fmla="*/ 2 w 90"/>
                    <a:gd name="T13" fmla="*/ 1 h 124"/>
                    <a:gd name="T14" fmla="*/ 2 w 90"/>
                    <a:gd name="T15" fmla="*/ 0 h 124"/>
                    <a:gd name="T16" fmla="*/ 1 w 90"/>
                    <a:gd name="T17" fmla="*/ 0 h 124"/>
                    <a:gd name="T18" fmla="*/ 0 w 90"/>
                    <a:gd name="T19" fmla="*/ 1 h 1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90"/>
                    <a:gd name="T31" fmla="*/ 0 h 124"/>
                    <a:gd name="T32" fmla="*/ 90 w 90"/>
                    <a:gd name="T33" fmla="*/ 124 h 124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90" h="124">
                      <a:moveTo>
                        <a:pt x="0" y="32"/>
                      </a:moveTo>
                      <a:lnTo>
                        <a:pt x="4" y="64"/>
                      </a:lnTo>
                      <a:lnTo>
                        <a:pt x="25" y="32"/>
                      </a:lnTo>
                      <a:lnTo>
                        <a:pt x="35" y="51"/>
                      </a:lnTo>
                      <a:lnTo>
                        <a:pt x="24" y="124"/>
                      </a:lnTo>
                      <a:lnTo>
                        <a:pt x="64" y="121"/>
                      </a:lnTo>
                      <a:lnTo>
                        <a:pt x="90" y="48"/>
                      </a:lnTo>
                      <a:lnTo>
                        <a:pt x="77" y="5"/>
                      </a:lnTo>
                      <a:lnTo>
                        <a:pt x="36" y="0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2" name="Freeform 365"/>
                <p:cNvSpPr/>
                <p:nvPr/>
              </p:nvSpPr>
              <p:spPr bwMode="auto">
                <a:xfrm>
                  <a:off x="3649490" y="3063030"/>
                  <a:ext cx="207221" cy="182985"/>
                </a:xfrm>
                <a:custGeom>
                  <a:avLst/>
                  <a:gdLst>
                    <a:gd name="T0" fmla="*/ 0 w 433"/>
                    <a:gd name="T1" fmla="*/ 9 h 403"/>
                    <a:gd name="T2" fmla="*/ 2 w 433"/>
                    <a:gd name="T3" fmla="*/ 7 h 403"/>
                    <a:gd name="T4" fmla="*/ 4 w 433"/>
                    <a:gd name="T5" fmla="*/ 7 h 403"/>
                    <a:gd name="T6" fmla="*/ 5 w 433"/>
                    <a:gd name="T7" fmla="*/ 5 h 403"/>
                    <a:gd name="T8" fmla="*/ 6 w 433"/>
                    <a:gd name="T9" fmla="*/ 5 h 403"/>
                    <a:gd name="T10" fmla="*/ 6 w 433"/>
                    <a:gd name="T11" fmla="*/ 5 h 403"/>
                    <a:gd name="T12" fmla="*/ 7 w 433"/>
                    <a:gd name="T13" fmla="*/ 5 h 403"/>
                    <a:gd name="T14" fmla="*/ 8 w 433"/>
                    <a:gd name="T15" fmla="*/ 3 h 403"/>
                    <a:gd name="T16" fmla="*/ 8 w 433"/>
                    <a:gd name="T17" fmla="*/ 1 h 403"/>
                    <a:gd name="T18" fmla="*/ 9 w 433"/>
                    <a:gd name="T19" fmla="*/ 1 h 403"/>
                    <a:gd name="T20" fmla="*/ 9 w 433"/>
                    <a:gd name="T21" fmla="*/ 0 h 403"/>
                    <a:gd name="T22" fmla="*/ 9 w 433"/>
                    <a:gd name="T23" fmla="*/ 0 h 403"/>
                    <a:gd name="T24" fmla="*/ 10 w 433"/>
                    <a:gd name="T25" fmla="*/ 2 h 403"/>
                    <a:gd name="T26" fmla="*/ 9 w 433"/>
                    <a:gd name="T27" fmla="*/ 4 h 403"/>
                    <a:gd name="T28" fmla="*/ 9 w 433"/>
                    <a:gd name="T29" fmla="*/ 5 h 403"/>
                    <a:gd name="T30" fmla="*/ 9 w 433"/>
                    <a:gd name="T31" fmla="*/ 7 h 403"/>
                    <a:gd name="T32" fmla="*/ 8 w 433"/>
                    <a:gd name="T33" fmla="*/ 8 h 403"/>
                    <a:gd name="T34" fmla="*/ 8 w 433"/>
                    <a:gd name="T35" fmla="*/ 7 h 403"/>
                    <a:gd name="T36" fmla="*/ 7 w 433"/>
                    <a:gd name="T37" fmla="*/ 8 h 403"/>
                    <a:gd name="T38" fmla="*/ 5 w 433"/>
                    <a:gd name="T39" fmla="*/ 8 h 403"/>
                    <a:gd name="T40" fmla="*/ 5 w 433"/>
                    <a:gd name="T41" fmla="*/ 9 h 403"/>
                    <a:gd name="T42" fmla="*/ 4 w 433"/>
                    <a:gd name="T43" fmla="*/ 9 h 403"/>
                    <a:gd name="T44" fmla="*/ 4 w 433"/>
                    <a:gd name="T45" fmla="*/ 8 h 403"/>
                    <a:gd name="T46" fmla="*/ 0 w 433"/>
                    <a:gd name="T47" fmla="*/ 9 h 403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433"/>
                    <a:gd name="T73" fmla="*/ 0 h 403"/>
                    <a:gd name="T74" fmla="*/ 433 w 433"/>
                    <a:gd name="T75" fmla="*/ 403 h 403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433" h="403">
                      <a:moveTo>
                        <a:pt x="0" y="378"/>
                      </a:moveTo>
                      <a:lnTo>
                        <a:pt x="80" y="305"/>
                      </a:lnTo>
                      <a:lnTo>
                        <a:pt x="188" y="305"/>
                      </a:lnTo>
                      <a:lnTo>
                        <a:pt x="232" y="212"/>
                      </a:lnTo>
                      <a:lnTo>
                        <a:pt x="250" y="204"/>
                      </a:lnTo>
                      <a:lnTo>
                        <a:pt x="252" y="239"/>
                      </a:lnTo>
                      <a:lnTo>
                        <a:pt x="299" y="204"/>
                      </a:lnTo>
                      <a:lnTo>
                        <a:pt x="343" y="138"/>
                      </a:lnTo>
                      <a:lnTo>
                        <a:pt x="360" y="21"/>
                      </a:lnTo>
                      <a:lnTo>
                        <a:pt x="394" y="25"/>
                      </a:lnTo>
                      <a:lnTo>
                        <a:pt x="385" y="0"/>
                      </a:lnTo>
                      <a:lnTo>
                        <a:pt x="406" y="1"/>
                      </a:lnTo>
                      <a:lnTo>
                        <a:pt x="433" y="97"/>
                      </a:lnTo>
                      <a:lnTo>
                        <a:pt x="394" y="166"/>
                      </a:lnTo>
                      <a:lnTo>
                        <a:pt x="394" y="227"/>
                      </a:lnTo>
                      <a:lnTo>
                        <a:pt x="367" y="319"/>
                      </a:lnTo>
                      <a:lnTo>
                        <a:pt x="346" y="332"/>
                      </a:lnTo>
                      <a:lnTo>
                        <a:pt x="345" y="297"/>
                      </a:lnTo>
                      <a:lnTo>
                        <a:pt x="284" y="347"/>
                      </a:lnTo>
                      <a:lnTo>
                        <a:pt x="232" y="327"/>
                      </a:lnTo>
                      <a:lnTo>
                        <a:pt x="235" y="368"/>
                      </a:lnTo>
                      <a:lnTo>
                        <a:pt x="188" y="403"/>
                      </a:lnTo>
                      <a:lnTo>
                        <a:pt x="177" y="345"/>
                      </a:lnTo>
                      <a:lnTo>
                        <a:pt x="0" y="37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" name="Freeform 366"/>
                <p:cNvSpPr/>
                <p:nvPr/>
              </p:nvSpPr>
              <p:spPr bwMode="auto">
                <a:xfrm>
                  <a:off x="3673076" y="3230103"/>
                  <a:ext cx="43803" cy="33415"/>
                </a:xfrm>
                <a:custGeom>
                  <a:avLst/>
                  <a:gdLst>
                    <a:gd name="T0" fmla="*/ 0 w 88"/>
                    <a:gd name="T1" fmla="*/ 1 h 73"/>
                    <a:gd name="T2" fmla="*/ 1 w 88"/>
                    <a:gd name="T3" fmla="*/ 2 h 73"/>
                    <a:gd name="T4" fmla="*/ 2 w 88"/>
                    <a:gd name="T5" fmla="*/ 1 h 73"/>
                    <a:gd name="T6" fmla="*/ 2 w 88"/>
                    <a:gd name="T7" fmla="*/ 0 h 73"/>
                    <a:gd name="T8" fmla="*/ 0 w 88"/>
                    <a:gd name="T9" fmla="*/ 1 h 7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8"/>
                    <a:gd name="T16" fmla="*/ 0 h 73"/>
                    <a:gd name="T17" fmla="*/ 88 w 88"/>
                    <a:gd name="T18" fmla="*/ 73 h 7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8" h="73">
                      <a:moveTo>
                        <a:pt x="0" y="37"/>
                      </a:moveTo>
                      <a:lnTo>
                        <a:pt x="33" y="73"/>
                      </a:lnTo>
                      <a:lnTo>
                        <a:pt x="83" y="46"/>
                      </a:lnTo>
                      <a:lnTo>
                        <a:pt x="88" y="0"/>
                      </a:lnTo>
                      <a:lnTo>
                        <a:pt x="0" y="3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4" name="Freeform 367"/>
                <p:cNvSpPr/>
                <p:nvPr/>
              </p:nvSpPr>
              <p:spPr bwMode="auto">
                <a:xfrm>
                  <a:off x="3814593" y="2965968"/>
                  <a:ext cx="107822" cy="97062"/>
                </a:xfrm>
                <a:custGeom>
                  <a:avLst/>
                  <a:gdLst>
                    <a:gd name="T0" fmla="*/ 0 w 226"/>
                    <a:gd name="T1" fmla="*/ 4 h 214"/>
                    <a:gd name="T2" fmla="*/ 0 w 226"/>
                    <a:gd name="T3" fmla="*/ 5 h 214"/>
                    <a:gd name="T4" fmla="*/ 1 w 226"/>
                    <a:gd name="T5" fmla="*/ 5 h 214"/>
                    <a:gd name="T6" fmla="*/ 1 w 226"/>
                    <a:gd name="T7" fmla="*/ 4 h 214"/>
                    <a:gd name="T8" fmla="*/ 3 w 226"/>
                    <a:gd name="T9" fmla="*/ 4 h 214"/>
                    <a:gd name="T10" fmla="*/ 3 w 226"/>
                    <a:gd name="T11" fmla="*/ 3 h 214"/>
                    <a:gd name="T12" fmla="*/ 5 w 226"/>
                    <a:gd name="T13" fmla="*/ 3 h 214"/>
                    <a:gd name="T14" fmla="*/ 5 w 226"/>
                    <a:gd name="T15" fmla="*/ 2 h 214"/>
                    <a:gd name="T16" fmla="*/ 5 w 226"/>
                    <a:gd name="T17" fmla="*/ 1 h 214"/>
                    <a:gd name="T18" fmla="*/ 3 w 226"/>
                    <a:gd name="T19" fmla="*/ 1 h 214"/>
                    <a:gd name="T20" fmla="*/ 2 w 226"/>
                    <a:gd name="T21" fmla="*/ 0 h 214"/>
                    <a:gd name="T22" fmla="*/ 1 w 226"/>
                    <a:gd name="T23" fmla="*/ 3 h 214"/>
                    <a:gd name="T24" fmla="*/ 1 w 226"/>
                    <a:gd name="T25" fmla="*/ 3 h 214"/>
                    <a:gd name="T26" fmla="*/ 0 w 226"/>
                    <a:gd name="T27" fmla="*/ 4 h 21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26"/>
                    <a:gd name="T43" fmla="*/ 0 h 214"/>
                    <a:gd name="T44" fmla="*/ 226 w 226"/>
                    <a:gd name="T45" fmla="*/ 214 h 21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26" h="214">
                      <a:moveTo>
                        <a:pt x="0" y="153"/>
                      </a:moveTo>
                      <a:lnTo>
                        <a:pt x="10" y="214"/>
                      </a:lnTo>
                      <a:lnTo>
                        <a:pt x="51" y="192"/>
                      </a:lnTo>
                      <a:lnTo>
                        <a:pt x="23" y="155"/>
                      </a:lnTo>
                      <a:lnTo>
                        <a:pt x="133" y="188"/>
                      </a:lnTo>
                      <a:lnTo>
                        <a:pt x="157" y="138"/>
                      </a:lnTo>
                      <a:lnTo>
                        <a:pt x="226" y="120"/>
                      </a:lnTo>
                      <a:lnTo>
                        <a:pt x="202" y="86"/>
                      </a:lnTo>
                      <a:lnTo>
                        <a:pt x="211" y="58"/>
                      </a:lnTo>
                      <a:lnTo>
                        <a:pt x="150" y="62"/>
                      </a:lnTo>
                      <a:lnTo>
                        <a:pt x="80" y="0"/>
                      </a:lnTo>
                      <a:lnTo>
                        <a:pt x="54" y="122"/>
                      </a:lnTo>
                      <a:lnTo>
                        <a:pt x="22" y="115"/>
                      </a:lnTo>
                      <a:lnTo>
                        <a:pt x="0" y="15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5" name="Freeform 368"/>
                <p:cNvSpPr/>
                <p:nvPr/>
              </p:nvSpPr>
              <p:spPr bwMode="auto">
                <a:xfrm>
                  <a:off x="3531560" y="3029615"/>
                  <a:ext cx="114561" cy="120930"/>
                </a:xfrm>
                <a:custGeom>
                  <a:avLst/>
                  <a:gdLst>
                    <a:gd name="T0" fmla="*/ 0 w 240"/>
                    <a:gd name="T1" fmla="*/ 3 h 268"/>
                    <a:gd name="T2" fmla="*/ 1 w 240"/>
                    <a:gd name="T3" fmla="*/ 4 h 268"/>
                    <a:gd name="T4" fmla="*/ 0 w 240"/>
                    <a:gd name="T5" fmla="*/ 6 h 268"/>
                    <a:gd name="T6" fmla="*/ 2 w 240"/>
                    <a:gd name="T7" fmla="*/ 6 h 268"/>
                    <a:gd name="T8" fmla="*/ 3 w 240"/>
                    <a:gd name="T9" fmla="*/ 5 h 268"/>
                    <a:gd name="T10" fmla="*/ 3 w 240"/>
                    <a:gd name="T11" fmla="*/ 4 h 268"/>
                    <a:gd name="T12" fmla="*/ 5 w 240"/>
                    <a:gd name="T13" fmla="*/ 2 h 268"/>
                    <a:gd name="T14" fmla="*/ 5 w 240"/>
                    <a:gd name="T15" fmla="*/ 1 h 268"/>
                    <a:gd name="T16" fmla="*/ 5 w 240"/>
                    <a:gd name="T17" fmla="*/ 0 h 268"/>
                    <a:gd name="T18" fmla="*/ 5 w 240"/>
                    <a:gd name="T19" fmla="*/ 0 h 268"/>
                    <a:gd name="T20" fmla="*/ 3 w 240"/>
                    <a:gd name="T21" fmla="*/ 1 h 268"/>
                    <a:gd name="T22" fmla="*/ 3 w 240"/>
                    <a:gd name="T23" fmla="*/ 2 h 268"/>
                    <a:gd name="T24" fmla="*/ 2 w 240"/>
                    <a:gd name="T25" fmla="*/ 1 h 268"/>
                    <a:gd name="T26" fmla="*/ 0 w 240"/>
                    <a:gd name="T27" fmla="*/ 3 h 268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40"/>
                    <a:gd name="T43" fmla="*/ 0 h 268"/>
                    <a:gd name="T44" fmla="*/ 240 w 240"/>
                    <a:gd name="T45" fmla="*/ 268 h 268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40" h="268">
                      <a:moveTo>
                        <a:pt x="0" y="151"/>
                      </a:moveTo>
                      <a:lnTo>
                        <a:pt x="43" y="173"/>
                      </a:lnTo>
                      <a:lnTo>
                        <a:pt x="15" y="251"/>
                      </a:lnTo>
                      <a:lnTo>
                        <a:pt x="84" y="268"/>
                      </a:lnTo>
                      <a:lnTo>
                        <a:pt x="155" y="223"/>
                      </a:lnTo>
                      <a:lnTo>
                        <a:pt x="122" y="159"/>
                      </a:lnTo>
                      <a:lnTo>
                        <a:pt x="202" y="101"/>
                      </a:lnTo>
                      <a:lnTo>
                        <a:pt x="240" y="24"/>
                      </a:lnTo>
                      <a:lnTo>
                        <a:pt x="237" y="13"/>
                      </a:lnTo>
                      <a:lnTo>
                        <a:pt x="223" y="0"/>
                      </a:lnTo>
                      <a:lnTo>
                        <a:pt x="147" y="50"/>
                      </a:lnTo>
                      <a:lnTo>
                        <a:pt x="147" y="77"/>
                      </a:lnTo>
                      <a:lnTo>
                        <a:pt x="94" y="68"/>
                      </a:lnTo>
                      <a:lnTo>
                        <a:pt x="0" y="15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6" name="Freeform 369"/>
                <p:cNvSpPr/>
                <p:nvPr/>
              </p:nvSpPr>
              <p:spPr bwMode="auto">
                <a:xfrm>
                  <a:off x="3565254" y="3129859"/>
                  <a:ext cx="60650" cy="97062"/>
                </a:xfrm>
                <a:custGeom>
                  <a:avLst/>
                  <a:gdLst>
                    <a:gd name="T0" fmla="*/ 0 w 128"/>
                    <a:gd name="T1" fmla="*/ 5 h 212"/>
                    <a:gd name="T2" fmla="*/ 0 w 128"/>
                    <a:gd name="T3" fmla="*/ 1 h 212"/>
                    <a:gd name="T4" fmla="*/ 2 w 128"/>
                    <a:gd name="T5" fmla="*/ 0 h 212"/>
                    <a:gd name="T6" fmla="*/ 3 w 128"/>
                    <a:gd name="T7" fmla="*/ 3 h 212"/>
                    <a:gd name="T8" fmla="*/ 2 w 128"/>
                    <a:gd name="T9" fmla="*/ 5 h 212"/>
                    <a:gd name="T10" fmla="*/ 0 w 128"/>
                    <a:gd name="T11" fmla="*/ 5 h 21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28"/>
                    <a:gd name="T19" fmla="*/ 0 h 212"/>
                    <a:gd name="T20" fmla="*/ 128 w 128"/>
                    <a:gd name="T21" fmla="*/ 212 h 21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28" h="212">
                      <a:moveTo>
                        <a:pt x="0" y="212"/>
                      </a:moveTo>
                      <a:lnTo>
                        <a:pt x="13" y="45"/>
                      </a:lnTo>
                      <a:lnTo>
                        <a:pt x="84" y="0"/>
                      </a:lnTo>
                      <a:lnTo>
                        <a:pt x="128" y="129"/>
                      </a:lnTo>
                      <a:lnTo>
                        <a:pt x="82" y="189"/>
                      </a:lnTo>
                      <a:lnTo>
                        <a:pt x="0" y="21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7" name="Freeform 370"/>
                <p:cNvSpPr/>
                <p:nvPr/>
              </p:nvSpPr>
              <p:spPr bwMode="auto">
                <a:xfrm>
                  <a:off x="3088477" y="3483101"/>
                  <a:ext cx="131408" cy="167074"/>
                </a:xfrm>
                <a:custGeom>
                  <a:avLst/>
                  <a:gdLst>
                    <a:gd name="T0" fmla="*/ 0 w 274"/>
                    <a:gd name="T1" fmla="*/ 2 h 369"/>
                    <a:gd name="T2" fmla="*/ 1 w 274"/>
                    <a:gd name="T3" fmla="*/ 3 h 369"/>
                    <a:gd name="T4" fmla="*/ 1 w 274"/>
                    <a:gd name="T5" fmla="*/ 5 h 369"/>
                    <a:gd name="T6" fmla="*/ 3 w 274"/>
                    <a:gd name="T7" fmla="*/ 4 h 369"/>
                    <a:gd name="T8" fmla="*/ 4 w 274"/>
                    <a:gd name="T9" fmla="*/ 5 h 369"/>
                    <a:gd name="T10" fmla="*/ 5 w 274"/>
                    <a:gd name="T11" fmla="*/ 7 h 369"/>
                    <a:gd name="T12" fmla="*/ 4 w 274"/>
                    <a:gd name="T13" fmla="*/ 9 h 369"/>
                    <a:gd name="T14" fmla="*/ 6 w 274"/>
                    <a:gd name="T15" fmla="*/ 8 h 369"/>
                    <a:gd name="T16" fmla="*/ 5 w 274"/>
                    <a:gd name="T17" fmla="*/ 5 h 369"/>
                    <a:gd name="T18" fmla="*/ 3 w 274"/>
                    <a:gd name="T19" fmla="*/ 3 h 369"/>
                    <a:gd name="T20" fmla="*/ 4 w 274"/>
                    <a:gd name="T21" fmla="*/ 2 h 369"/>
                    <a:gd name="T22" fmla="*/ 3 w 274"/>
                    <a:gd name="T23" fmla="*/ 1 h 369"/>
                    <a:gd name="T24" fmla="*/ 2 w 274"/>
                    <a:gd name="T25" fmla="*/ 0 h 369"/>
                    <a:gd name="T26" fmla="*/ 1 w 274"/>
                    <a:gd name="T27" fmla="*/ 0 h 369"/>
                    <a:gd name="T28" fmla="*/ 1 w 274"/>
                    <a:gd name="T29" fmla="*/ 1 h 369"/>
                    <a:gd name="T30" fmla="*/ 1 w 274"/>
                    <a:gd name="T31" fmla="*/ 1 h 369"/>
                    <a:gd name="T32" fmla="*/ 0 w 274"/>
                    <a:gd name="T33" fmla="*/ 2 h 36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74"/>
                    <a:gd name="T52" fmla="*/ 0 h 369"/>
                    <a:gd name="T53" fmla="*/ 274 w 274"/>
                    <a:gd name="T54" fmla="*/ 369 h 369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74" h="369">
                      <a:moveTo>
                        <a:pt x="0" y="79"/>
                      </a:moveTo>
                      <a:lnTo>
                        <a:pt x="36" y="132"/>
                      </a:lnTo>
                      <a:lnTo>
                        <a:pt x="25" y="223"/>
                      </a:lnTo>
                      <a:lnTo>
                        <a:pt x="123" y="184"/>
                      </a:lnTo>
                      <a:lnTo>
                        <a:pt x="160" y="223"/>
                      </a:lnTo>
                      <a:lnTo>
                        <a:pt x="198" y="313"/>
                      </a:lnTo>
                      <a:lnTo>
                        <a:pt x="188" y="369"/>
                      </a:lnTo>
                      <a:lnTo>
                        <a:pt x="274" y="353"/>
                      </a:lnTo>
                      <a:lnTo>
                        <a:pt x="231" y="234"/>
                      </a:lnTo>
                      <a:lnTo>
                        <a:pt x="138" y="147"/>
                      </a:lnTo>
                      <a:lnTo>
                        <a:pt x="165" y="94"/>
                      </a:lnTo>
                      <a:lnTo>
                        <a:pt x="112" y="67"/>
                      </a:lnTo>
                      <a:lnTo>
                        <a:pt x="73" y="0"/>
                      </a:lnTo>
                      <a:lnTo>
                        <a:pt x="50" y="1"/>
                      </a:lnTo>
                      <a:lnTo>
                        <a:pt x="52" y="48"/>
                      </a:lnTo>
                      <a:lnTo>
                        <a:pt x="36" y="36"/>
                      </a:lnTo>
                      <a:lnTo>
                        <a:pt x="0" y="7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8" name="Freeform 371"/>
                <p:cNvSpPr/>
                <p:nvPr/>
              </p:nvSpPr>
              <p:spPr bwMode="auto">
                <a:xfrm>
                  <a:off x="1356582" y="2843447"/>
                  <a:ext cx="8424" cy="17503"/>
                </a:xfrm>
                <a:custGeom>
                  <a:avLst/>
                  <a:gdLst>
                    <a:gd name="T0" fmla="*/ 0 w 18"/>
                    <a:gd name="T1" fmla="*/ 1 h 38"/>
                    <a:gd name="T2" fmla="*/ 0 w 18"/>
                    <a:gd name="T3" fmla="*/ 0 h 38"/>
                    <a:gd name="T4" fmla="*/ 0 w 18"/>
                    <a:gd name="T5" fmla="*/ 1 h 38"/>
                    <a:gd name="T6" fmla="*/ 0 w 18"/>
                    <a:gd name="T7" fmla="*/ 1 h 3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38"/>
                    <a:gd name="T14" fmla="*/ 18 w 18"/>
                    <a:gd name="T15" fmla="*/ 38 h 3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38">
                      <a:moveTo>
                        <a:pt x="0" y="30"/>
                      </a:moveTo>
                      <a:lnTo>
                        <a:pt x="13" y="0"/>
                      </a:lnTo>
                      <a:lnTo>
                        <a:pt x="18" y="38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9" name="Freeform 372"/>
                <p:cNvSpPr/>
                <p:nvPr/>
              </p:nvSpPr>
              <p:spPr bwMode="auto">
                <a:xfrm>
                  <a:off x="3088477" y="3809292"/>
                  <a:ext cx="69074" cy="100244"/>
                </a:xfrm>
                <a:custGeom>
                  <a:avLst/>
                  <a:gdLst>
                    <a:gd name="T0" fmla="*/ 0 w 142"/>
                    <a:gd name="T1" fmla="*/ 0 h 221"/>
                    <a:gd name="T2" fmla="*/ 1 w 142"/>
                    <a:gd name="T3" fmla="*/ 0 h 221"/>
                    <a:gd name="T4" fmla="*/ 1 w 142"/>
                    <a:gd name="T5" fmla="*/ 1 h 221"/>
                    <a:gd name="T6" fmla="*/ 2 w 142"/>
                    <a:gd name="T7" fmla="*/ 0 h 221"/>
                    <a:gd name="T8" fmla="*/ 3 w 142"/>
                    <a:gd name="T9" fmla="*/ 1 h 221"/>
                    <a:gd name="T10" fmla="*/ 3 w 142"/>
                    <a:gd name="T11" fmla="*/ 5 h 221"/>
                    <a:gd name="T12" fmla="*/ 3 w 142"/>
                    <a:gd name="T13" fmla="*/ 5 h 221"/>
                    <a:gd name="T14" fmla="*/ 1 w 142"/>
                    <a:gd name="T15" fmla="*/ 4 h 221"/>
                    <a:gd name="T16" fmla="*/ 0 w 142"/>
                    <a:gd name="T17" fmla="*/ 0 h 22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42"/>
                    <a:gd name="T28" fmla="*/ 0 h 221"/>
                    <a:gd name="T29" fmla="*/ 142 w 142"/>
                    <a:gd name="T30" fmla="*/ 221 h 22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42" h="221">
                      <a:moveTo>
                        <a:pt x="0" y="0"/>
                      </a:moveTo>
                      <a:lnTo>
                        <a:pt x="29" y="0"/>
                      </a:lnTo>
                      <a:lnTo>
                        <a:pt x="38" y="41"/>
                      </a:lnTo>
                      <a:lnTo>
                        <a:pt x="73" y="15"/>
                      </a:lnTo>
                      <a:lnTo>
                        <a:pt x="122" y="65"/>
                      </a:lnTo>
                      <a:lnTo>
                        <a:pt x="142" y="221"/>
                      </a:lnTo>
                      <a:lnTo>
                        <a:pt x="141" y="221"/>
                      </a:lnTo>
                      <a:lnTo>
                        <a:pt x="42" y="15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336C"/>
                </a:solidFill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0" name="Freeform 373"/>
                <p:cNvSpPr/>
                <p:nvPr/>
              </p:nvSpPr>
              <p:spPr bwMode="auto">
                <a:xfrm>
                  <a:off x="3262004" y="3799745"/>
                  <a:ext cx="173527" cy="120930"/>
                </a:xfrm>
                <a:custGeom>
                  <a:avLst/>
                  <a:gdLst>
                    <a:gd name="T0" fmla="*/ 0 w 362"/>
                    <a:gd name="T1" fmla="*/ 6 h 264"/>
                    <a:gd name="T2" fmla="*/ 1 w 362"/>
                    <a:gd name="T3" fmla="*/ 6 h 264"/>
                    <a:gd name="T4" fmla="*/ 3 w 362"/>
                    <a:gd name="T5" fmla="*/ 6 h 264"/>
                    <a:gd name="T6" fmla="*/ 4 w 362"/>
                    <a:gd name="T7" fmla="*/ 6 h 264"/>
                    <a:gd name="T8" fmla="*/ 5 w 362"/>
                    <a:gd name="T9" fmla="*/ 3 h 264"/>
                    <a:gd name="T10" fmla="*/ 7 w 362"/>
                    <a:gd name="T11" fmla="*/ 3 h 264"/>
                    <a:gd name="T12" fmla="*/ 8 w 362"/>
                    <a:gd name="T13" fmla="*/ 2 h 264"/>
                    <a:gd name="T14" fmla="*/ 7 w 362"/>
                    <a:gd name="T15" fmla="*/ 1 h 264"/>
                    <a:gd name="T16" fmla="*/ 7 w 362"/>
                    <a:gd name="T17" fmla="*/ 0 h 264"/>
                    <a:gd name="T18" fmla="*/ 5 w 362"/>
                    <a:gd name="T19" fmla="*/ 2 h 264"/>
                    <a:gd name="T20" fmla="*/ 4 w 362"/>
                    <a:gd name="T21" fmla="*/ 3 h 264"/>
                    <a:gd name="T22" fmla="*/ 4 w 362"/>
                    <a:gd name="T23" fmla="*/ 3 h 264"/>
                    <a:gd name="T24" fmla="*/ 3 w 362"/>
                    <a:gd name="T25" fmla="*/ 4 h 264"/>
                    <a:gd name="T26" fmla="*/ 2 w 362"/>
                    <a:gd name="T27" fmla="*/ 4 h 264"/>
                    <a:gd name="T28" fmla="*/ 1 w 362"/>
                    <a:gd name="T29" fmla="*/ 6 h 264"/>
                    <a:gd name="T30" fmla="*/ 0 w 362"/>
                    <a:gd name="T31" fmla="*/ 6 h 26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362"/>
                    <a:gd name="T49" fmla="*/ 0 h 264"/>
                    <a:gd name="T50" fmla="*/ 362 w 362"/>
                    <a:gd name="T51" fmla="*/ 264 h 26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362" h="264">
                      <a:moveTo>
                        <a:pt x="0" y="235"/>
                      </a:moveTo>
                      <a:lnTo>
                        <a:pt x="33" y="264"/>
                      </a:lnTo>
                      <a:lnTo>
                        <a:pt x="143" y="253"/>
                      </a:lnTo>
                      <a:lnTo>
                        <a:pt x="182" y="238"/>
                      </a:lnTo>
                      <a:lnTo>
                        <a:pt x="234" y="115"/>
                      </a:lnTo>
                      <a:lnTo>
                        <a:pt x="299" y="120"/>
                      </a:lnTo>
                      <a:lnTo>
                        <a:pt x="362" y="78"/>
                      </a:lnTo>
                      <a:lnTo>
                        <a:pt x="304" y="45"/>
                      </a:lnTo>
                      <a:lnTo>
                        <a:pt x="284" y="0"/>
                      </a:lnTo>
                      <a:lnTo>
                        <a:pt x="210" y="82"/>
                      </a:lnTo>
                      <a:lnTo>
                        <a:pt x="185" y="128"/>
                      </a:lnTo>
                      <a:lnTo>
                        <a:pt x="163" y="103"/>
                      </a:lnTo>
                      <a:lnTo>
                        <a:pt x="120" y="168"/>
                      </a:lnTo>
                      <a:lnTo>
                        <a:pt x="70" y="177"/>
                      </a:lnTo>
                      <a:lnTo>
                        <a:pt x="56" y="238"/>
                      </a:lnTo>
                      <a:lnTo>
                        <a:pt x="0" y="23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1" name="Freeform 374"/>
                <p:cNvSpPr/>
                <p:nvPr/>
              </p:nvSpPr>
              <p:spPr bwMode="auto">
                <a:xfrm>
                  <a:off x="2859355" y="2792529"/>
                  <a:ext cx="581230" cy="265727"/>
                </a:xfrm>
                <a:custGeom>
                  <a:avLst/>
                  <a:gdLst>
                    <a:gd name="T0" fmla="*/ 0 w 1209"/>
                    <a:gd name="T1" fmla="*/ 4 h 587"/>
                    <a:gd name="T2" fmla="*/ 1 w 1209"/>
                    <a:gd name="T3" fmla="*/ 6 h 587"/>
                    <a:gd name="T4" fmla="*/ 2 w 1209"/>
                    <a:gd name="T5" fmla="*/ 6 h 587"/>
                    <a:gd name="T6" fmla="*/ 3 w 1209"/>
                    <a:gd name="T7" fmla="*/ 9 h 587"/>
                    <a:gd name="T8" fmla="*/ 7 w 1209"/>
                    <a:gd name="T9" fmla="*/ 10 h 587"/>
                    <a:gd name="T10" fmla="*/ 8 w 1209"/>
                    <a:gd name="T11" fmla="*/ 12 h 587"/>
                    <a:gd name="T12" fmla="*/ 11 w 1209"/>
                    <a:gd name="T13" fmla="*/ 12 h 587"/>
                    <a:gd name="T14" fmla="*/ 15 w 1209"/>
                    <a:gd name="T15" fmla="*/ 14 h 587"/>
                    <a:gd name="T16" fmla="*/ 20 w 1209"/>
                    <a:gd name="T17" fmla="*/ 12 h 587"/>
                    <a:gd name="T18" fmla="*/ 21 w 1209"/>
                    <a:gd name="T19" fmla="*/ 11 h 587"/>
                    <a:gd name="T20" fmla="*/ 21 w 1209"/>
                    <a:gd name="T21" fmla="*/ 9 h 587"/>
                    <a:gd name="T22" fmla="*/ 23 w 1209"/>
                    <a:gd name="T23" fmla="*/ 10 h 587"/>
                    <a:gd name="T24" fmla="*/ 26 w 1209"/>
                    <a:gd name="T25" fmla="*/ 7 h 587"/>
                    <a:gd name="T26" fmla="*/ 28 w 1209"/>
                    <a:gd name="T27" fmla="*/ 7 h 587"/>
                    <a:gd name="T28" fmla="*/ 27 w 1209"/>
                    <a:gd name="T29" fmla="*/ 5 h 587"/>
                    <a:gd name="T30" fmla="*/ 25 w 1209"/>
                    <a:gd name="T31" fmla="*/ 6 h 587"/>
                    <a:gd name="T32" fmla="*/ 25 w 1209"/>
                    <a:gd name="T33" fmla="*/ 4 h 587"/>
                    <a:gd name="T34" fmla="*/ 25 w 1209"/>
                    <a:gd name="T35" fmla="*/ 3 h 587"/>
                    <a:gd name="T36" fmla="*/ 24 w 1209"/>
                    <a:gd name="T37" fmla="*/ 3 h 587"/>
                    <a:gd name="T38" fmla="*/ 19 w 1209"/>
                    <a:gd name="T39" fmla="*/ 4 h 587"/>
                    <a:gd name="T40" fmla="*/ 16 w 1209"/>
                    <a:gd name="T41" fmla="*/ 2 h 587"/>
                    <a:gd name="T42" fmla="*/ 13 w 1209"/>
                    <a:gd name="T43" fmla="*/ 2 h 587"/>
                    <a:gd name="T44" fmla="*/ 13 w 1209"/>
                    <a:gd name="T45" fmla="*/ 1 h 587"/>
                    <a:gd name="T46" fmla="*/ 10 w 1209"/>
                    <a:gd name="T47" fmla="*/ 0 h 587"/>
                    <a:gd name="T48" fmla="*/ 9 w 1209"/>
                    <a:gd name="T49" fmla="*/ 1 h 587"/>
                    <a:gd name="T50" fmla="*/ 9 w 1209"/>
                    <a:gd name="T51" fmla="*/ 3 h 587"/>
                    <a:gd name="T52" fmla="*/ 4 w 1209"/>
                    <a:gd name="T53" fmla="*/ 2 h 587"/>
                    <a:gd name="T54" fmla="*/ 0 w 1209"/>
                    <a:gd name="T55" fmla="*/ 4 h 587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1209"/>
                    <a:gd name="T85" fmla="*/ 0 h 587"/>
                    <a:gd name="T86" fmla="*/ 1209 w 1209"/>
                    <a:gd name="T87" fmla="*/ 587 h 587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1209" h="587">
                      <a:moveTo>
                        <a:pt x="0" y="184"/>
                      </a:moveTo>
                      <a:lnTo>
                        <a:pt x="39" y="242"/>
                      </a:lnTo>
                      <a:lnTo>
                        <a:pt x="94" y="265"/>
                      </a:lnTo>
                      <a:lnTo>
                        <a:pt x="113" y="389"/>
                      </a:lnTo>
                      <a:lnTo>
                        <a:pt x="282" y="439"/>
                      </a:lnTo>
                      <a:lnTo>
                        <a:pt x="353" y="526"/>
                      </a:lnTo>
                      <a:lnTo>
                        <a:pt x="494" y="522"/>
                      </a:lnTo>
                      <a:lnTo>
                        <a:pt x="651" y="587"/>
                      </a:lnTo>
                      <a:lnTo>
                        <a:pt x="856" y="526"/>
                      </a:lnTo>
                      <a:lnTo>
                        <a:pt x="920" y="477"/>
                      </a:lnTo>
                      <a:lnTo>
                        <a:pt x="920" y="408"/>
                      </a:lnTo>
                      <a:lnTo>
                        <a:pt x="979" y="416"/>
                      </a:lnTo>
                      <a:lnTo>
                        <a:pt x="1110" y="318"/>
                      </a:lnTo>
                      <a:lnTo>
                        <a:pt x="1209" y="312"/>
                      </a:lnTo>
                      <a:lnTo>
                        <a:pt x="1162" y="238"/>
                      </a:lnTo>
                      <a:lnTo>
                        <a:pt x="1065" y="257"/>
                      </a:lnTo>
                      <a:lnTo>
                        <a:pt x="1064" y="174"/>
                      </a:lnTo>
                      <a:lnTo>
                        <a:pt x="1088" y="127"/>
                      </a:lnTo>
                      <a:lnTo>
                        <a:pt x="1018" y="115"/>
                      </a:lnTo>
                      <a:lnTo>
                        <a:pt x="838" y="167"/>
                      </a:lnTo>
                      <a:lnTo>
                        <a:pt x="677" y="90"/>
                      </a:lnTo>
                      <a:lnTo>
                        <a:pt x="576" y="101"/>
                      </a:lnTo>
                      <a:lnTo>
                        <a:pt x="539" y="39"/>
                      </a:lnTo>
                      <a:lnTo>
                        <a:pt x="439" y="0"/>
                      </a:lnTo>
                      <a:lnTo>
                        <a:pt x="386" y="42"/>
                      </a:lnTo>
                      <a:lnTo>
                        <a:pt x="383" y="126"/>
                      </a:lnTo>
                      <a:lnTo>
                        <a:pt x="153" y="89"/>
                      </a:lnTo>
                      <a:lnTo>
                        <a:pt x="0" y="184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2" name="Freeform 375"/>
                <p:cNvSpPr/>
                <p:nvPr/>
              </p:nvSpPr>
              <p:spPr bwMode="auto">
                <a:xfrm>
                  <a:off x="2203998" y="3432183"/>
                  <a:ext cx="141517" cy="173438"/>
                </a:xfrm>
                <a:custGeom>
                  <a:avLst/>
                  <a:gdLst>
                    <a:gd name="T0" fmla="*/ 0 w 294"/>
                    <a:gd name="T1" fmla="*/ 6 h 383"/>
                    <a:gd name="T2" fmla="*/ 1 w 294"/>
                    <a:gd name="T3" fmla="*/ 9 h 383"/>
                    <a:gd name="T4" fmla="*/ 3 w 294"/>
                    <a:gd name="T5" fmla="*/ 9 h 383"/>
                    <a:gd name="T6" fmla="*/ 5 w 294"/>
                    <a:gd name="T7" fmla="*/ 6 h 383"/>
                    <a:gd name="T8" fmla="*/ 5 w 294"/>
                    <a:gd name="T9" fmla="*/ 5 h 383"/>
                    <a:gd name="T10" fmla="*/ 7 w 294"/>
                    <a:gd name="T11" fmla="*/ 3 h 383"/>
                    <a:gd name="T12" fmla="*/ 7 w 294"/>
                    <a:gd name="T13" fmla="*/ 3 h 383"/>
                    <a:gd name="T14" fmla="*/ 6 w 294"/>
                    <a:gd name="T15" fmla="*/ 1 h 383"/>
                    <a:gd name="T16" fmla="*/ 4 w 294"/>
                    <a:gd name="T17" fmla="*/ 0 h 383"/>
                    <a:gd name="T18" fmla="*/ 3 w 294"/>
                    <a:gd name="T19" fmla="*/ 0 h 383"/>
                    <a:gd name="T20" fmla="*/ 4 w 294"/>
                    <a:gd name="T21" fmla="*/ 1 h 383"/>
                    <a:gd name="T22" fmla="*/ 3 w 294"/>
                    <a:gd name="T23" fmla="*/ 2 h 383"/>
                    <a:gd name="T24" fmla="*/ 3 w 294"/>
                    <a:gd name="T25" fmla="*/ 3 h 383"/>
                    <a:gd name="T26" fmla="*/ 3 w 294"/>
                    <a:gd name="T27" fmla="*/ 5 h 383"/>
                    <a:gd name="T28" fmla="*/ 0 w 294"/>
                    <a:gd name="T29" fmla="*/ 6 h 383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94"/>
                    <a:gd name="T46" fmla="*/ 0 h 383"/>
                    <a:gd name="T47" fmla="*/ 294 w 294"/>
                    <a:gd name="T48" fmla="*/ 383 h 383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94" h="383">
                      <a:moveTo>
                        <a:pt x="0" y="270"/>
                      </a:moveTo>
                      <a:lnTo>
                        <a:pt x="40" y="383"/>
                      </a:lnTo>
                      <a:lnTo>
                        <a:pt x="109" y="364"/>
                      </a:lnTo>
                      <a:lnTo>
                        <a:pt x="218" y="269"/>
                      </a:lnTo>
                      <a:lnTo>
                        <a:pt x="217" y="223"/>
                      </a:lnTo>
                      <a:lnTo>
                        <a:pt x="289" y="139"/>
                      </a:lnTo>
                      <a:lnTo>
                        <a:pt x="294" y="114"/>
                      </a:lnTo>
                      <a:lnTo>
                        <a:pt x="255" y="64"/>
                      </a:lnTo>
                      <a:lnTo>
                        <a:pt x="164" y="0"/>
                      </a:lnTo>
                      <a:lnTo>
                        <a:pt x="141" y="1"/>
                      </a:lnTo>
                      <a:lnTo>
                        <a:pt x="153" y="36"/>
                      </a:lnTo>
                      <a:lnTo>
                        <a:pt x="122" y="101"/>
                      </a:lnTo>
                      <a:lnTo>
                        <a:pt x="141" y="134"/>
                      </a:lnTo>
                      <a:lnTo>
                        <a:pt x="111" y="226"/>
                      </a:lnTo>
                      <a:lnTo>
                        <a:pt x="0" y="27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3" name="Freeform 376"/>
                <p:cNvSpPr/>
                <p:nvPr/>
              </p:nvSpPr>
              <p:spPr bwMode="auto">
                <a:xfrm>
                  <a:off x="2719523" y="3316027"/>
                  <a:ext cx="144886" cy="82741"/>
                </a:xfrm>
                <a:custGeom>
                  <a:avLst/>
                  <a:gdLst>
                    <a:gd name="T0" fmla="*/ 0 w 305"/>
                    <a:gd name="T1" fmla="*/ 2 h 184"/>
                    <a:gd name="T2" fmla="*/ 1 w 305"/>
                    <a:gd name="T3" fmla="*/ 0 h 184"/>
                    <a:gd name="T4" fmla="*/ 4 w 305"/>
                    <a:gd name="T5" fmla="*/ 1 h 184"/>
                    <a:gd name="T6" fmla="*/ 5 w 305"/>
                    <a:gd name="T7" fmla="*/ 3 h 184"/>
                    <a:gd name="T8" fmla="*/ 7 w 305"/>
                    <a:gd name="T9" fmla="*/ 3 h 184"/>
                    <a:gd name="T10" fmla="*/ 7 w 305"/>
                    <a:gd name="T11" fmla="*/ 4 h 184"/>
                    <a:gd name="T12" fmla="*/ 2 w 305"/>
                    <a:gd name="T13" fmla="*/ 3 h 184"/>
                    <a:gd name="T14" fmla="*/ 0 w 305"/>
                    <a:gd name="T15" fmla="*/ 2 h 184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05"/>
                    <a:gd name="T25" fmla="*/ 0 h 184"/>
                    <a:gd name="T26" fmla="*/ 305 w 305"/>
                    <a:gd name="T27" fmla="*/ 184 h 184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05" h="184">
                      <a:moveTo>
                        <a:pt x="0" y="72"/>
                      </a:moveTo>
                      <a:lnTo>
                        <a:pt x="39" y="0"/>
                      </a:lnTo>
                      <a:lnTo>
                        <a:pt x="158" y="46"/>
                      </a:lnTo>
                      <a:lnTo>
                        <a:pt x="223" y="117"/>
                      </a:lnTo>
                      <a:lnTo>
                        <a:pt x="305" y="117"/>
                      </a:lnTo>
                      <a:lnTo>
                        <a:pt x="302" y="184"/>
                      </a:lnTo>
                      <a:lnTo>
                        <a:pt x="102" y="141"/>
                      </a:lnTo>
                      <a:lnTo>
                        <a:pt x="0" y="7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4" name="Freeform 377"/>
                <p:cNvSpPr/>
                <p:nvPr/>
              </p:nvSpPr>
              <p:spPr bwMode="auto">
                <a:xfrm>
                  <a:off x="1314464" y="2762297"/>
                  <a:ext cx="65704" cy="68421"/>
                </a:xfrm>
                <a:custGeom>
                  <a:avLst/>
                  <a:gdLst>
                    <a:gd name="T0" fmla="*/ 0 w 138"/>
                    <a:gd name="T1" fmla="*/ 3 h 148"/>
                    <a:gd name="T2" fmla="*/ 1 w 138"/>
                    <a:gd name="T3" fmla="*/ 2 h 148"/>
                    <a:gd name="T4" fmla="*/ 1 w 138"/>
                    <a:gd name="T5" fmla="*/ 2 h 148"/>
                    <a:gd name="T6" fmla="*/ 1 w 138"/>
                    <a:gd name="T7" fmla="*/ 1 h 148"/>
                    <a:gd name="T8" fmla="*/ 2 w 138"/>
                    <a:gd name="T9" fmla="*/ 1 h 148"/>
                    <a:gd name="T10" fmla="*/ 2 w 138"/>
                    <a:gd name="T11" fmla="*/ 0 h 148"/>
                    <a:gd name="T12" fmla="*/ 3 w 138"/>
                    <a:gd name="T13" fmla="*/ 0 h 148"/>
                    <a:gd name="T14" fmla="*/ 3 w 138"/>
                    <a:gd name="T15" fmla="*/ 1 h 148"/>
                    <a:gd name="T16" fmla="*/ 2 w 138"/>
                    <a:gd name="T17" fmla="*/ 2 h 148"/>
                    <a:gd name="T18" fmla="*/ 2 w 138"/>
                    <a:gd name="T19" fmla="*/ 3 h 148"/>
                    <a:gd name="T20" fmla="*/ 1 w 138"/>
                    <a:gd name="T21" fmla="*/ 3 h 148"/>
                    <a:gd name="T22" fmla="*/ 0 w 138"/>
                    <a:gd name="T23" fmla="*/ 3 h 14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38"/>
                    <a:gd name="T37" fmla="*/ 0 h 148"/>
                    <a:gd name="T38" fmla="*/ 138 w 138"/>
                    <a:gd name="T39" fmla="*/ 148 h 14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38" h="148">
                      <a:moveTo>
                        <a:pt x="0" y="111"/>
                      </a:moveTo>
                      <a:lnTo>
                        <a:pt x="54" y="92"/>
                      </a:lnTo>
                      <a:lnTo>
                        <a:pt x="29" y="76"/>
                      </a:lnTo>
                      <a:lnTo>
                        <a:pt x="53" y="23"/>
                      </a:lnTo>
                      <a:lnTo>
                        <a:pt x="75" y="57"/>
                      </a:lnTo>
                      <a:lnTo>
                        <a:pt x="76" y="0"/>
                      </a:lnTo>
                      <a:lnTo>
                        <a:pt x="138" y="0"/>
                      </a:lnTo>
                      <a:lnTo>
                        <a:pt x="134" y="57"/>
                      </a:lnTo>
                      <a:lnTo>
                        <a:pt x="93" y="79"/>
                      </a:lnTo>
                      <a:lnTo>
                        <a:pt x="95" y="148"/>
                      </a:lnTo>
                      <a:lnTo>
                        <a:pt x="57" y="106"/>
                      </a:lnTo>
                      <a:lnTo>
                        <a:pt x="0" y="11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5" name="Freeform 378"/>
                <p:cNvSpPr/>
                <p:nvPr/>
              </p:nvSpPr>
              <p:spPr bwMode="auto">
                <a:xfrm>
                  <a:off x="4301478" y="4799005"/>
                  <a:ext cx="143201" cy="144797"/>
                </a:xfrm>
                <a:custGeom>
                  <a:avLst/>
                  <a:gdLst>
                    <a:gd name="T0" fmla="*/ 0 w 298"/>
                    <a:gd name="T1" fmla="*/ 6 h 322"/>
                    <a:gd name="T2" fmla="*/ 1 w 298"/>
                    <a:gd name="T3" fmla="*/ 4 h 322"/>
                    <a:gd name="T4" fmla="*/ 4 w 298"/>
                    <a:gd name="T5" fmla="*/ 3 h 322"/>
                    <a:gd name="T6" fmla="*/ 5 w 298"/>
                    <a:gd name="T7" fmla="*/ 0 h 322"/>
                    <a:gd name="T8" fmla="*/ 6 w 298"/>
                    <a:gd name="T9" fmla="*/ 1 h 322"/>
                    <a:gd name="T10" fmla="*/ 7 w 298"/>
                    <a:gd name="T11" fmla="*/ 0 h 322"/>
                    <a:gd name="T12" fmla="*/ 7 w 298"/>
                    <a:gd name="T13" fmla="*/ 1 h 322"/>
                    <a:gd name="T14" fmla="*/ 6 w 298"/>
                    <a:gd name="T15" fmla="*/ 3 h 322"/>
                    <a:gd name="T16" fmla="*/ 6 w 298"/>
                    <a:gd name="T17" fmla="*/ 4 h 322"/>
                    <a:gd name="T18" fmla="*/ 4 w 298"/>
                    <a:gd name="T19" fmla="*/ 4 h 322"/>
                    <a:gd name="T20" fmla="*/ 4 w 298"/>
                    <a:gd name="T21" fmla="*/ 6 h 322"/>
                    <a:gd name="T22" fmla="*/ 2 w 298"/>
                    <a:gd name="T23" fmla="*/ 7 h 322"/>
                    <a:gd name="T24" fmla="*/ 0 w 298"/>
                    <a:gd name="T25" fmla="*/ 6 h 32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98"/>
                    <a:gd name="T40" fmla="*/ 0 h 322"/>
                    <a:gd name="T41" fmla="*/ 298 w 298"/>
                    <a:gd name="T42" fmla="*/ 322 h 32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98" h="322">
                      <a:moveTo>
                        <a:pt x="0" y="281"/>
                      </a:moveTo>
                      <a:lnTo>
                        <a:pt x="63" y="182"/>
                      </a:lnTo>
                      <a:lnTo>
                        <a:pt x="172" y="109"/>
                      </a:lnTo>
                      <a:lnTo>
                        <a:pt x="223" y="0"/>
                      </a:lnTo>
                      <a:lnTo>
                        <a:pt x="256" y="32"/>
                      </a:lnTo>
                      <a:lnTo>
                        <a:pt x="293" y="17"/>
                      </a:lnTo>
                      <a:lnTo>
                        <a:pt x="298" y="55"/>
                      </a:lnTo>
                      <a:lnTo>
                        <a:pt x="242" y="134"/>
                      </a:lnTo>
                      <a:lnTo>
                        <a:pt x="252" y="167"/>
                      </a:lnTo>
                      <a:lnTo>
                        <a:pt x="190" y="180"/>
                      </a:lnTo>
                      <a:lnTo>
                        <a:pt x="161" y="289"/>
                      </a:lnTo>
                      <a:lnTo>
                        <a:pt x="96" y="322"/>
                      </a:lnTo>
                      <a:lnTo>
                        <a:pt x="0" y="28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6" name="Freeform 379"/>
                <p:cNvSpPr/>
                <p:nvPr/>
              </p:nvSpPr>
              <p:spPr bwMode="auto">
                <a:xfrm>
                  <a:off x="4414355" y="4655799"/>
                  <a:ext cx="106138" cy="160709"/>
                </a:xfrm>
                <a:custGeom>
                  <a:avLst/>
                  <a:gdLst>
                    <a:gd name="T0" fmla="*/ 0 w 221"/>
                    <a:gd name="T1" fmla="*/ 0 h 353"/>
                    <a:gd name="T2" fmla="*/ 1 w 221"/>
                    <a:gd name="T3" fmla="*/ 1 h 353"/>
                    <a:gd name="T4" fmla="*/ 2 w 221"/>
                    <a:gd name="T5" fmla="*/ 3 h 353"/>
                    <a:gd name="T6" fmla="*/ 3 w 221"/>
                    <a:gd name="T7" fmla="*/ 3 h 353"/>
                    <a:gd name="T8" fmla="*/ 3 w 221"/>
                    <a:gd name="T9" fmla="*/ 3 h 353"/>
                    <a:gd name="T10" fmla="*/ 3 w 221"/>
                    <a:gd name="T11" fmla="*/ 4 h 353"/>
                    <a:gd name="T12" fmla="*/ 5 w 221"/>
                    <a:gd name="T13" fmla="*/ 4 h 353"/>
                    <a:gd name="T14" fmla="*/ 5 w 221"/>
                    <a:gd name="T15" fmla="*/ 5 h 353"/>
                    <a:gd name="T16" fmla="*/ 4 w 221"/>
                    <a:gd name="T17" fmla="*/ 6 h 353"/>
                    <a:gd name="T18" fmla="*/ 3 w 221"/>
                    <a:gd name="T19" fmla="*/ 8 h 353"/>
                    <a:gd name="T20" fmla="*/ 2 w 221"/>
                    <a:gd name="T21" fmla="*/ 8 h 353"/>
                    <a:gd name="T22" fmla="*/ 2 w 221"/>
                    <a:gd name="T23" fmla="*/ 7 h 353"/>
                    <a:gd name="T24" fmla="*/ 1 w 221"/>
                    <a:gd name="T25" fmla="*/ 6 h 353"/>
                    <a:gd name="T26" fmla="*/ 2 w 221"/>
                    <a:gd name="T27" fmla="*/ 4 h 353"/>
                    <a:gd name="T28" fmla="*/ 2 w 221"/>
                    <a:gd name="T29" fmla="*/ 3 h 353"/>
                    <a:gd name="T30" fmla="*/ 0 w 221"/>
                    <a:gd name="T31" fmla="*/ 0 h 35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21"/>
                    <a:gd name="T49" fmla="*/ 0 h 353"/>
                    <a:gd name="T50" fmla="*/ 221 w 221"/>
                    <a:gd name="T51" fmla="*/ 353 h 353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21" h="353">
                      <a:moveTo>
                        <a:pt x="0" y="0"/>
                      </a:moveTo>
                      <a:lnTo>
                        <a:pt x="63" y="39"/>
                      </a:lnTo>
                      <a:lnTo>
                        <a:pt x="75" y="117"/>
                      </a:lnTo>
                      <a:lnTo>
                        <a:pt x="104" y="139"/>
                      </a:lnTo>
                      <a:lnTo>
                        <a:pt x="119" y="106"/>
                      </a:lnTo>
                      <a:lnTo>
                        <a:pt x="132" y="161"/>
                      </a:lnTo>
                      <a:lnTo>
                        <a:pt x="221" y="161"/>
                      </a:lnTo>
                      <a:lnTo>
                        <a:pt x="204" y="238"/>
                      </a:lnTo>
                      <a:lnTo>
                        <a:pt x="159" y="250"/>
                      </a:lnTo>
                      <a:lnTo>
                        <a:pt x="120" y="351"/>
                      </a:lnTo>
                      <a:lnTo>
                        <a:pt x="78" y="353"/>
                      </a:lnTo>
                      <a:lnTo>
                        <a:pt x="96" y="316"/>
                      </a:lnTo>
                      <a:lnTo>
                        <a:pt x="41" y="244"/>
                      </a:lnTo>
                      <a:lnTo>
                        <a:pt x="86" y="179"/>
                      </a:lnTo>
                      <a:lnTo>
                        <a:pt x="78" y="1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" name="Freeform 380"/>
                <p:cNvSpPr/>
                <p:nvPr/>
              </p:nvSpPr>
              <p:spPr bwMode="auto">
                <a:xfrm>
                  <a:off x="1343104" y="2206976"/>
                  <a:ext cx="473407" cy="418480"/>
                </a:xfrm>
                <a:custGeom>
                  <a:avLst/>
                  <a:gdLst>
                    <a:gd name="T0" fmla="*/ 0 w 989"/>
                    <a:gd name="T1" fmla="*/ 17 h 922"/>
                    <a:gd name="T2" fmla="*/ 2 w 989"/>
                    <a:gd name="T3" fmla="*/ 17 h 922"/>
                    <a:gd name="T4" fmla="*/ 1 w 989"/>
                    <a:gd name="T5" fmla="*/ 18 h 922"/>
                    <a:gd name="T6" fmla="*/ 2 w 989"/>
                    <a:gd name="T7" fmla="*/ 18 h 922"/>
                    <a:gd name="T8" fmla="*/ 1 w 989"/>
                    <a:gd name="T9" fmla="*/ 19 h 922"/>
                    <a:gd name="T10" fmla="*/ 3 w 989"/>
                    <a:gd name="T11" fmla="*/ 21 h 922"/>
                    <a:gd name="T12" fmla="*/ 5 w 989"/>
                    <a:gd name="T13" fmla="*/ 19 h 922"/>
                    <a:gd name="T14" fmla="*/ 7 w 989"/>
                    <a:gd name="T15" fmla="*/ 19 h 922"/>
                    <a:gd name="T16" fmla="*/ 7 w 989"/>
                    <a:gd name="T17" fmla="*/ 17 h 922"/>
                    <a:gd name="T18" fmla="*/ 6 w 989"/>
                    <a:gd name="T19" fmla="*/ 13 h 922"/>
                    <a:gd name="T20" fmla="*/ 8 w 989"/>
                    <a:gd name="T21" fmla="*/ 11 h 922"/>
                    <a:gd name="T22" fmla="*/ 10 w 989"/>
                    <a:gd name="T23" fmla="*/ 7 h 922"/>
                    <a:gd name="T24" fmla="*/ 11 w 989"/>
                    <a:gd name="T25" fmla="*/ 5 h 922"/>
                    <a:gd name="T26" fmla="*/ 13 w 989"/>
                    <a:gd name="T27" fmla="*/ 5 h 922"/>
                    <a:gd name="T28" fmla="*/ 14 w 989"/>
                    <a:gd name="T29" fmla="*/ 4 h 922"/>
                    <a:gd name="T30" fmla="*/ 15 w 989"/>
                    <a:gd name="T31" fmla="*/ 4 h 922"/>
                    <a:gd name="T32" fmla="*/ 18 w 989"/>
                    <a:gd name="T33" fmla="*/ 4 h 922"/>
                    <a:gd name="T34" fmla="*/ 20 w 989"/>
                    <a:gd name="T35" fmla="*/ 2 h 922"/>
                    <a:gd name="T36" fmla="*/ 21 w 989"/>
                    <a:gd name="T37" fmla="*/ 4 h 922"/>
                    <a:gd name="T38" fmla="*/ 22 w 989"/>
                    <a:gd name="T39" fmla="*/ 3 h 922"/>
                    <a:gd name="T40" fmla="*/ 21 w 989"/>
                    <a:gd name="T41" fmla="*/ 2 h 922"/>
                    <a:gd name="T42" fmla="*/ 21 w 989"/>
                    <a:gd name="T43" fmla="*/ 0 h 922"/>
                    <a:gd name="T44" fmla="*/ 20 w 989"/>
                    <a:gd name="T45" fmla="*/ 0 h 922"/>
                    <a:gd name="T46" fmla="*/ 19 w 989"/>
                    <a:gd name="T47" fmla="*/ 1 h 922"/>
                    <a:gd name="T48" fmla="*/ 19 w 989"/>
                    <a:gd name="T49" fmla="*/ 0 h 922"/>
                    <a:gd name="T50" fmla="*/ 18 w 989"/>
                    <a:gd name="T51" fmla="*/ 0 h 922"/>
                    <a:gd name="T52" fmla="*/ 16 w 989"/>
                    <a:gd name="T53" fmla="*/ 2 h 922"/>
                    <a:gd name="T54" fmla="*/ 15 w 989"/>
                    <a:gd name="T55" fmla="*/ 3 h 922"/>
                    <a:gd name="T56" fmla="*/ 13 w 989"/>
                    <a:gd name="T57" fmla="*/ 3 h 922"/>
                    <a:gd name="T58" fmla="*/ 13 w 989"/>
                    <a:gd name="T59" fmla="*/ 3 h 922"/>
                    <a:gd name="T60" fmla="*/ 13 w 989"/>
                    <a:gd name="T61" fmla="*/ 3 h 922"/>
                    <a:gd name="T62" fmla="*/ 11 w 989"/>
                    <a:gd name="T63" fmla="*/ 4 h 922"/>
                    <a:gd name="T64" fmla="*/ 11 w 989"/>
                    <a:gd name="T65" fmla="*/ 5 h 922"/>
                    <a:gd name="T66" fmla="*/ 9 w 989"/>
                    <a:gd name="T67" fmla="*/ 6 h 922"/>
                    <a:gd name="T68" fmla="*/ 7 w 989"/>
                    <a:gd name="T69" fmla="*/ 8 h 922"/>
                    <a:gd name="T70" fmla="*/ 4 w 989"/>
                    <a:gd name="T71" fmla="*/ 13 h 922"/>
                    <a:gd name="T72" fmla="*/ 5 w 989"/>
                    <a:gd name="T73" fmla="*/ 13 h 922"/>
                    <a:gd name="T74" fmla="*/ 2 w 989"/>
                    <a:gd name="T75" fmla="*/ 14 h 922"/>
                    <a:gd name="T76" fmla="*/ 1 w 989"/>
                    <a:gd name="T77" fmla="*/ 15 h 922"/>
                    <a:gd name="T78" fmla="*/ 0 w 989"/>
                    <a:gd name="T79" fmla="*/ 15 h 922"/>
                    <a:gd name="T80" fmla="*/ 0 w 989"/>
                    <a:gd name="T81" fmla="*/ 16 h 922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989"/>
                    <a:gd name="T124" fmla="*/ 0 h 922"/>
                    <a:gd name="T125" fmla="*/ 989 w 989"/>
                    <a:gd name="T126" fmla="*/ 922 h 922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989" h="922">
                      <a:moveTo>
                        <a:pt x="0" y="688"/>
                      </a:moveTo>
                      <a:lnTo>
                        <a:pt x="4" y="727"/>
                      </a:lnTo>
                      <a:lnTo>
                        <a:pt x="91" y="702"/>
                      </a:lnTo>
                      <a:lnTo>
                        <a:pt x="97" y="717"/>
                      </a:lnTo>
                      <a:lnTo>
                        <a:pt x="3" y="741"/>
                      </a:lnTo>
                      <a:lnTo>
                        <a:pt x="27" y="757"/>
                      </a:lnTo>
                      <a:lnTo>
                        <a:pt x="17" y="807"/>
                      </a:lnTo>
                      <a:lnTo>
                        <a:pt x="80" y="764"/>
                      </a:lnTo>
                      <a:lnTo>
                        <a:pt x="12" y="834"/>
                      </a:lnTo>
                      <a:lnTo>
                        <a:pt x="50" y="834"/>
                      </a:lnTo>
                      <a:lnTo>
                        <a:pt x="27" y="895"/>
                      </a:lnTo>
                      <a:lnTo>
                        <a:pt x="121" y="922"/>
                      </a:lnTo>
                      <a:lnTo>
                        <a:pt x="196" y="863"/>
                      </a:lnTo>
                      <a:lnTo>
                        <a:pt x="213" y="809"/>
                      </a:lnTo>
                      <a:lnTo>
                        <a:pt x="235" y="863"/>
                      </a:lnTo>
                      <a:lnTo>
                        <a:pt x="281" y="795"/>
                      </a:lnTo>
                      <a:lnTo>
                        <a:pt x="270" y="737"/>
                      </a:lnTo>
                      <a:lnTo>
                        <a:pt x="292" y="712"/>
                      </a:lnTo>
                      <a:lnTo>
                        <a:pt x="270" y="685"/>
                      </a:lnTo>
                      <a:lnTo>
                        <a:pt x="277" y="553"/>
                      </a:lnTo>
                      <a:lnTo>
                        <a:pt x="344" y="523"/>
                      </a:lnTo>
                      <a:lnTo>
                        <a:pt x="332" y="483"/>
                      </a:lnTo>
                      <a:lnTo>
                        <a:pt x="364" y="381"/>
                      </a:lnTo>
                      <a:lnTo>
                        <a:pt x="431" y="309"/>
                      </a:lnTo>
                      <a:lnTo>
                        <a:pt x="443" y="249"/>
                      </a:lnTo>
                      <a:lnTo>
                        <a:pt x="488" y="238"/>
                      </a:lnTo>
                      <a:lnTo>
                        <a:pt x="505" y="198"/>
                      </a:lnTo>
                      <a:lnTo>
                        <a:pt x="573" y="207"/>
                      </a:lnTo>
                      <a:lnTo>
                        <a:pt x="574" y="159"/>
                      </a:lnTo>
                      <a:lnTo>
                        <a:pt x="593" y="159"/>
                      </a:lnTo>
                      <a:lnTo>
                        <a:pt x="620" y="138"/>
                      </a:lnTo>
                      <a:lnTo>
                        <a:pt x="665" y="180"/>
                      </a:lnTo>
                      <a:lnTo>
                        <a:pt x="744" y="188"/>
                      </a:lnTo>
                      <a:lnTo>
                        <a:pt x="789" y="162"/>
                      </a:lnTo>
                      <a:lnTo>
                        <a:pt x="801" y="100"/>
                      </a:lnTo>
                      <a:lnTo>
                        <a:pt x="877" y="83"/>
                      </a:lnTo>
                      <a:lnTo>
                        <a:pt x="917" y="108"/>
                      </a:lnTo>
                      <a:lnTo>
                        <a:pt x="912" y="159"/>
                      </a:lnTo>
                      <a:lnTo>
                        <a:pt x="986" y="100"/>
                      </a:lnTo>
                      <a:lnTo>
                        <a:pt x="941" y="109"/>
                      </a:lnTo>
                      <a:lnTo>
                        <a:pt x="952" y="96"/>
                      </a:lnTo>
                      <a:lnTo>
                        <a:pt x="900" y="79"/>
                      </a:lnTo>
                      <a:lnTo>
                        <a:pt x="989" y="51"/>
                      </a:lnTo>
                      <a:lnTo>
                        <a:pt x="917" y="16"/>
                      </a:lnTo>
                      <a:lnTo>
                        <a:pt x="872" y="51"/>
                      </a:lnTo>
                      <a:lnTo>
                        <a:pt x="896" y="4"/>
                      </a:lnTo>
                      <a:lnTo>
                        <a:pt x="861" y="0"/>
                      </a:lnTo>
                      <a:lnTo>
                        <a:pt x="838" y="51"/>
                      </a:lnTo>
                      <a:lnTo>
                        <a:pt x="823" y="55"/>
                      </a:lnTo>
                      <a:lnTo>
                        <a:pt x="823" y="10"/>
                      </a:lnTo>
                      <a:lnTo>
                        <a:pt x="761" y="83"/>
                      </a:lnTo>
                      <a:lnTo>
                        <a:pt x="792" y="17"/>
                      </a:lnTo>
                      <a:lnTo>
                        <a:pt x="761" y="8"/>
                      </a:lnTo>
                      <a:lnTo>
                        <a:pt x="693" y="88"/>
                      </a:lnTo>
                      <a:lnTo>
                        <a:pt x="630" y="62"/>
                      </a:lnTo>
                      <a:lnTo>
                        <a:pt x="646" y="108"/>
                      </a:lnTo>
                      <a:lnTo>
                        <a:pt x="620" y="83"/>
                      </a:lnTo>
                      <a:lnTo>
                        <a:pt x="574" y="140"/>
                      </a:lnTo>
                      <a:lnTo>
                        <a:pt x="580" y="93"/>
                      </a:lnTo>
                      <a:lnTo>
                        <a:pt x="557" y="132"/>
                      </a:lnTo>
                      <a:lnTo>
                        <a:pt x="535" y="105"/>
                      </a:lnTo>
                      <a:lnTo>
                        <a:pt x="550" y="144"/>
                      </a:lnTo>
                      <a:lnTo>
                        <a:pt x="500" y="128"/>
                      </a:lnTo>
                      <a:lnTo>
                        <a:pt x="483" y="181"/>
                      </a:lnTo>
                      <a:lnTo>
                        <a:pt x="438" y="203"/>
                      </a:lnTo>
                      <a:lnTo>
                        <a:pt x="480" y="205"/>
                      </a:lnTo>
                      <a:lnTo>
                        <a:pt x="401" y="234"/>
                      </a:lnTo>
                      <a:lnTo>
                        <a:pt x="387" y="273"/>
                      </a:lnTo>
                      <a:lnTo>
                        <a:pt x="414" y="273"/>
                      </a:lnTo>
                      <a:lnTo>
                        <a:pt x="317" y="336"/>
                      </a:lnTo>
                      <a:lnTo>
                        <a:pt x="283" y="446"/>
                      </a:lnTo>
                      <a:lnTo>
                        <a:pt x="175" y="537"/>
                      </a:lnTo>
                      <a:lnTo>
                        <a:pt x="196" y="560"/>
                      </a:lnTo>
                      <a:lnTo>
                        <a:pt x="238" y="543"/>
                      </a:lnTo>
                      <a:lnTo>
                        <a:pt x="134" y="570"/>
                      </a:lnTo>
                      <a:lnTo>
                        <a:pt x="80" y="607"/>
                      </a:lnTo>
                      <a:lnTo>
                        <a:pt x="91" y="629"/>
                      </a:lnTo>
                      <a:lnTo>
                        <a:pt x="52" y="629"/>
                      </a:lnTo>
                      <a:lnTo>
                        <a:pt x="56" y="657"/>
                      </a:lnTo>
                      <a:lnTo>
                        <a:pt x="5" y="657"/>
                      </a:lnTo>
                      <a:lnTo>
                        <a:pt x="52" y="673"/>
                      </a:lnTo>
                      <a:lnTo>
                        <a:pt x="0" y="68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8" name="Freeform 381"/>
                <p:cNvSpPr/>
                <p:nvPr/>
              </p:nvSpPr>
              <p:spPr bwMode="auto">
                <a:xfrm>
                  <a:off x="2367416" y="3163274"/>
                  <a:ext cx="304935" cy="292777"/>
                </a:xfrm>
                <a:custGeom>
                  <a:avLst/>
                  <a:gdLst>
                    <a:gd name="T0" fmla="*/ 0 w 636"/>
                    <a:gd name="T1" fmla="*/ 8 h 645"/>
                    <a:gd name="T2" fmla="*/ 1 w 636"/>
                    <a:gd name="T3" fmla="*/ 9 h 645"/>
                    <a:gd name="T4" fmla="*/ 5 w 636"/>
                    <a:gd name="T5" fmla="*/ 8 h 645"/>
                    <a:gd name="T6" fmla="*/ 5 w 636"/>
                    <a:gd name="T7" fmla="*/ 7 h 645"/>
                    <a:gd name="T8" fmla="*/ 7 w 636"/>
                    <a:gd name="T9" fmla="*/ 6 h 645"/>
                    <a:gd name="T10" fmla="*/ 7 w 636"/>
                    <a:gd name="T11" fmla="*/ 5 h 645"/>
                    <a:gd name="T12" fmla="*/ 8 w 636"/>
                    <a:gd name="T13" fmla="*/ 4 h 645"/>
                    <a:gd name="T14" fmla="*/ 8 w 636"/>
                    <a:gd name="T15" fmla="*/ 4 h 645"/>
                    <a:gd name="T16" fmla="*/ 9 w 636"/>
                    <a:gd name="T17" fmla="*/ 3 h 645"/>
                    <a:gd name="T18" fmla="*/ 9 w 636"/>
                    <a:gd name="T19" fmla="*/ 2 h 645"/>
                    <a:gd name="T20" fmla="*/ 9 w 636"/>
                    <a:gd name="T21" fmla="*/ 1 h 645"/>
                    <a:gd name="T22" fmla="*/ 12 w 636"/>
                    <a:gd name="T23" fmla="*/ 0 h 645"/>
                    <a:gd name="T24" fmla="*/ 15 w 636"/>
                    <a:gd name="T25" fmla="*/ 2 h 645"/>
                    <a:gd name="T26" fmla="*/ 14 w 636"/>
                    <a:gd name="T27" fmla="*/ 3 h 645"/>
                    <a:gd name="T28" fmla="*/ 11 w 636"/>
                    <a:gd name="T29" fmla="*/ 3 h 645"/>
                    <a:gd name="T30" fmla="*/ 11 w 636"/>
                    <a:gd name="T31" fmla="*/ 4 h 645"/>
                    <a:gd name="T32" fmla="*/ 13 w 636"/>
                    <a:gd name="T33" fmla="*/ 5 h 645"/>
                    <a:gd name="T34" fmla="*/ 12 w 636"/>
                    <a:gd name="T35" fmla="*/ 6 h 645"/>
                    <a:gd name="T36" fmla="*/ 12 w 636"/>
                    <a:gd name="T37" fmla="*/ 7 h 645"/>
                    <a:gd name="T38" fmla="*/ 9 w 636"/>
                    <a:gd name="T39" fmla="*/ 11 h 645"/>
                    <a:gd name="T40" fmla="*/ 9 w 636"/>
                    <a:gd name="T41" fmla="*/ 10 h 645"/>
                    <a:gd name="T42" fmla="*/ 7 w 636"/>
                    <a:gd name="T43" fmla="*/ 11 h 645"/>
                    <a:gd name="T44" fmla="*/ 9 w 636"/>
                    <a:gd name="T45" fmla="*/ 14 h 645"/>
                    <a:gd name="T46" fmla="*/ 7 w 636"/>
                    <a:gd name="T47" fmla="*/ 14 h 645"/>
                    <a:gd name="T48" fmla="*/ 6 w 636"/>
                    <a:gd name="T49" fmla="*/ 15 h 645"/>
                    <a:gd name="T50" fmla="*/ 5 w 636"/>
                    <a:gd name="T51" fmla="*/ 13 h 645"/>
                    <a:gd name="T52" fmla="*/ 1 w 636"/>
                    <a:gd name="T53" fmla="*/ 13 h 645"/>
                    <a:gd name="T54" fmla="*/ 2 w 636"/>
                    <a:gd name="T55" fmla="*/ 11 h 645"/>
                    <a:gd name="T56" fmla="*/ 0 w 636"/>
                    <a:gd name="T57" fmla="*/ 8 h 645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636"/>
                    <a:gd name="T88" fmla="*/ 0 h 645"/>
                    <a:gd name="T89" fmla="*/ 636 w 636"/>
                    <a:gd name="T90" fmla="*/ 645 h 645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636" h="645">
                      <a:moveTo>
                        <a:pt x="0" y="354"/>
                      </a:moveTo>
                      <a:lnTo>
                        <a:pt x="59" y="377"/>
                      </a:lnTo>
                      <a:lnTo>
                        <a:pt x="198" y="354"/>
                      </a:lnTo>
                      <a:lnTo>
                        <a:pt x="225" y="289"/>
                      </a:lnTo>
                      <a:lnTo>
                        <a:pt x="319" y="253"/>
                      </a:lnTo>
                      <a:lnTo>
                        <a:pt x="326" y="197"/>
                      </a:lnTo>
                      <a:lnTo>
                        <a:pt x="361" y="182"/>
                      </a:lnTo>
                      <a:lnTo>
                        <a:pt x="347" y="154"/>
                      </a:lnTo>
                      <a:lnTo>
                        <a:pt x="379" y="150"/>
                      </a:lnTo>
                      <a:lnTo>
                        <a:pt x="404" y="96"/>
                      </a:lnTo>
                      <a:lnTo>
                        <a:pt x="394" y="40"/>
                      </a:lnTo>
                      <a:lnTo>
                        <a:pt x="524" y="0"/>
                      </a:lnTo>
                      <a:lnTo>
                        <a:pt x="636" y="84"/>
                      </a:lnTo>
                      <a:lnTo>
                        <a:pt x="607" y="119"/>
                      </a:lnTo>
                      <a:lnTo>
                        <a:pt x="497" y="119"/>
                      </a:lnTo>
                      <a:lnTo>
                        <a:pt x="499" y="191"/>
                      </a:lnTo>
                      <a:lnTo>
                        <a:pt x="548" y="237"/>
                      </a:lnTo>
                      <a:lnTo>
                        <a:pt x="521" y="261"/>
                      </a:lnTo>
                      <a:lnTo>
                        <a:pt x="528" y="300"/>
                      </a:lnTo>
                      <a:lnTo>
                        <a:pt x="412" y="449"/>
                      </a:lnTo>
                      <a:lnTo>
                        <a:pt x="364" y="444"/>
                      </a:lnTo>
                      <a:lnTo>
                        <a:pt x="326" y="481"/>
                      </a:lnTo>
                      <a:lnTo>
                        <a:pt x="387" y="617"/>
                      </a:lnTo>
                      <a:lnTo>
                        <a:pt x="302" y="617"/>
                      </a:lnTo>
                      <a:lnTo>
                        <a:pt x="271" y="645"/>
                      </a:lnTo>
                      <a:lnTo>
                        <a:pt x="207" y="564"/>
                      </a:lnTo>
                      <a:lnTo>
                        <a:pt x="27" y="580"/>
                      </a:lnTo>
                      <a:lnTo>
                        <a:pt x="86" y="487"/>
                      </a:lnTo>
                      <a:lnTo>
                        <a:pt x="0" y="354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" name="Freeform 382"/>
                <p:cNvSpPr/>
                <p:nvPr/>
              </p:nvSpPr>
              <p:spPr bwMode="auto">
                <a:xfrm>
                  <a:off x="3838179" y="3992278"/>
                  <a:ext cx="183635" cy="154344"/>
                </a:xfrm>
                <a:custGeom>
                  <a:avLst/>
                  <a:gdLst>
                    <a:gd name="T0" fmla="*/ 0 w 380"/>
                    <a:gd name="T1" fmla="*/ 0 h 340"/>
                    <a:gd name="T2" fmla="*/ 0 w 380"/>
                    <a:gd name="T3" fmla="*/ 7 h 340"/>
                    <a:gd name="T4" fmla="*/ 2 w 380"/>
                    <a:gd name="T5" fmla="*/ 7 h 340"/>
                    <a:gd name="T6" fmla="*/ 3 w 380"/>
                    <a:gd name="T7" fmla="*/ 5 h 340"/>
                    <a:gd name="T8" fmla="*/ 5 w 380"/>
                    <a:gd name="T9" fmla="*/ 6 h 340"/>
                    <a:gd name="T10" fmla="*/ 6 w 380"/>
                    <a:gd name="T11" fmla="*/ 8 h 340"/>
                    <a:gd name="T12" fmla="*/ 9 w 380"/>
                    <a:gd name="T13" fmla="*/ 8 h 340"/>
                    <a:gd name="T14" fmla="*/ 6 w 380"/>
                    <a:gd name="T15" fmla="*/ 5 h 340"/>
                    <a:gd name="T16" fmla="*/ 6 w 380"/>
                    <a:gd name="T17" fmla="*/ 3 h 340"/>
                    <a:gd name="T18" fmla="*/ 4 w 380"/>
                    <a:gd name="T19" fmla="*/ 3 h 340"/>
                    <a:gd name="T20" fmla="*/ 3 w 380"/>
                    <a:gd name="T21" fmla="*/ 1 h 340"/>
                    <a:gd name="T22" fmla="*/ 0 w 380"/>
                    <a:gd name="T23" fmla="*/ 0 h 34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380"/>
                    <a:gd name="T37" fmla="*/ 0 h 340"/>
                    <a:gd name="T38" fmla="*/ 380 w 380"/>
                    <a:gd name="T39" fmla="*/ 340 h 34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380" h="340">
                      <a:moveTo>
                        <a:pt x="0" y="0"/>
                      </a:moveTo>
                      <a:lnTo>
                        <a:pt x="6" y="285"/>
                      </a:lnTo>
                      <a:lnTo>
                        <a:pt x="68" y="293"/>
                      </a:lnTo>
                      <a:lnTo>
                        <a:pt x="129" y="215"/>
                      </a:lnTo>
                      <a:lnTo>
                        <a:pt x="195" y="250"/>
                      </a:lnTo>
                      <a:lnTo>
                        <a:pt x="259" y="327"/>
                      </a:lnTo>
                      <a:lnTo>
                        <a:pt x="380" y="340"/>
                      </a:lnTo>
                      <a:lnTo>
                        <a:pt x="243" y="213"/>
                      </a:lnTo>
                      <a:lnTo>
                        <a:pt x="251" y="151"/>
                      </a:lnTo>
                      <a:lnTo>
                        <a:pt x="188" y="128"/>
                      </a:lnTo>
                      <a:lnTo>
                        <a:pt x="126" y="5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0" name="Freeform 383"/>
                <p:cNvSpPr/>
                <p:nvPr/>
              </p:nvSpPr>
              <p:spPr bwMode="auto">
                <a:xfrm>
                  <a:off x="3971272" y="4024101"/>
                  <a:ext cx="75813" cy="39779"/>
                </a:xfrm>
                <a:custGeom>
                  <a:avLst/>
                  <a:gdLst>
                    <a:gd name="T0" fmla="*/ 0 w 159"/>
                    <a:gd name="T1" fmla="*/ 1 h 90"/>
                    <a:gd name="T2" fmla="*/ 2 w 159"/>
                    <a:gd name="T3" fmla="*/ 2 h 90"/>
                    <a:gd name="T4" fmla="*/ 4 w 159"/>
                    <a:gd name="T5" fmla="*/ 1 h 90"/>
                    <a:gd name="T6" fmla="*/ 3 w 159"/>
                    <a:gd name="T7" fmla="*/ 0 h 90"/>
                    <a:gd name="T8" fmla="*/ 3 w 159"/>
                    <a:gd name="T9" fmla="*/ 1 h 90"/>
                    <a:gd name="T10" fmla="*/ 0 w 159"/>
                    <a:gd name="T11" fmla="*/ 1 h 9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59"/>
                    <a:gd name="T19" fmla="*/ 0 h 90"/>
                    <a:gd name="T20" fmla="*/ 159 w 159"/>
                    <a:gd name="T21" fmla="*/ 90 h 9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59" h="90">
                      <a:moveTo>
                        <a:pt x="0" y="57"/>
                      </a:moveTo>
                      <a:lnTo>
                        <a:pt x="93" y="90"/>
                      </a:lnTo>
                      <a:lnTo>
                        <a:pt x="159" y="27"/>
                      </a:lnTo>
                      <a:lnTo>
                        <a:pt x="132" y="0"/>
                      </a:lnTo>
                      <a:lnTo>
                        <a:pt x="114" y="35"/>
                      </a:lnTo>
                      <a:lnTo>
                        <a:pt x="0" y="5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" name="Freeform 384"/>
                <p:cNvSpPr/>
                <p:nvPr/>
              </p:nvSpPr>
              <p:spPr bwMode="auto">
                <a:xfrm>
                  <a:off x="4016760" y="3993869"/>
                  <a:ext cx="38749" cy="39779"/>
                </a:xfrm>
                <a:custGeom>
                  <a:avLst/>
                  <a:gdLst>
                    <a:gd name="T0" fmla="*/ 0 w 80"/>
                    <a:gd name="T1" fmla="*/ 0 h 86"/>
                    <a:gd name="T2" fmla="*/ 1 w 80"/>
                    <a:gd name="T3" fmla="*/ 1 h 86"/>
                    <a:gd name="T4" fmla="*/ 2 w 80"/>
                    <a:gd name="T5" fmla="*/ 2 h 86"/>
                    <a:gd name="T6" fmla="*/ 2 w 80"/>
                    <a:gd name="T7" fmla="*/ 1 h 86"/>
                    <a:gd name="T8" fmla="*/ 0 w 80"/>
                    <a:gd name="T9" fmla="*/ 0 h 8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0"/>
                    <a:gd name="T16" fmla="*/ 0 h 86"/>
                    <a:gd name="T17" fmla="*/ 80 w 80"/>
                    <a:gd name="T18" fmla="*/ 86 h 8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0" h="86">
                      <a:moveTo>
                        <a:pt x="0" y="0"/>
                      </a:moveTo>
                      <a:lnTo>
                        <a:pt x="63" y="39"/>
                      </a:lnTo>
                      <a:lnTo>
                        <a:pt x="80" y="86"/>
                      </a:lnTo>
                      <a:lnTo>
                        <a:pt x="79" y="5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Freeform 385"/>
                <p:cNvSpPr/>
                <p:nvPr/>
              </p:nvSpPr>
              <p:spPr bwMode="auto">
                <a:xfrm>
                  <a:off x="3398466" y="3712230"/>
                  <a:ext cx="43803" cy="57282"/>
                </a:xfrm>
                <a:custGeom>
                  <a:avLst/>
                  <a:gdLst>
                    <a:gd name="T0" fmla="*/ 0 w 89"/>
                    <a:gd name="T1" fmla="*/ 3 h 127"/>
                    <a:gd name="T2" fmla="*/ 2 w 89"/>
                    <a:gd name="T3" fmla="*/ 1 h 127"/>
                    <a:gd name="T4" fmla="*/ 2 w 89"/>
                    <a:gd name="T5" fmla="*/ 0 h 127"/>
                    <a:gd name="T6" fmla="*/ 0 w 89"/>
                    <a:gd name="T7" fmla="*/ 3 h 12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9"/>
                    <a:gd name="T13" fmla="*/ 0 h 127"/>
                    <a:gd name="T14" fmla="*/ 89 w 89"/>
                    <a:gd name="T15" fmla="*/ 127 h 12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9" h="127">
                      <a:moveTo>
                        <a:pt x="0" y="127"/>
                      </a:moveTo>
                      <a:lnTo>
                        <a:pt x="64" y="67"/>
                      </a:lnTo>
                      <a:lnTo>
                        <a:pt x="89" y="0"/>
                      </a:lnTo>
                      <a:lnTo>
                        <a:pt x="0" y="12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" name="Freeform 386"/>
                <p:cNvSpPr/>
                <p:nvPr/>
              </p:nvSpPr>
              <p:spPr bwMode="auto">
                <a:xfrm>
                  <a:off x="3449008" y="3564251"/>
                  <a:ext cx="75813" cy="122521"/>
                </a:xfrm>
                <a:custGeom>
                  <a:avLst/>
                  <a:gdLst>
                    <a:gd name="T0" fmla="*/ 0 w 156"/>
                    <a:gd name="T1" fmla="*/ 3 h 269"/>
                    <a:gd name="T2" fmla="*/ 1 w 156"/>
                    <a:gd name="T3" fmla="*/ 0 h 269"/>
                    <a:gd name="T4" fmla="*/ 2 w 156"/>
                    <a:gd name="T5" fmla="*/ 0 h 269"/>
                    <a:gd name="T6" fmla="*/ 2 w 156"/>
                    <a:gd name="T7" fmla="*/ 2 h 269"/>
                    <a:gd name="T8" fmla="*/ 1 w 156"/>
                    <a:gd name="T9" fmla="*/ 3 h 269"/>
                    <a:gd name="T10" fmla="*/ 1 w 156"/>
                    <a:gd name="T11" fmla="*/ 4 h 269"/>
                    <a:gd name="T12" fmla="*/ 3 w 156"/>
                    <a:gd name="T13" fmla="*/ 5 h 269"/>
                    <a:gd name="T14" fmla="*/ 4 w 156"/>
                    <a:gd name="T15" fmla="*/ 6 h 269"/>
                    <a:gd name="T16" fmla="*/ 3 w 156"/>
                    <a:gd name="T17" fmla="*/ 5 h 269"/>
                    <a:gd name="T18" fmla="*/ 3 w 156"/>
                    <a:gd name="T19" fmla="*/ 6 h 269"/>
                    <a:gd name="T20" fmla="*/ 1 w 156"/>
                    <a:gd name="T21" fmla="*/ 5 h 269"/>
                    <a:gd name="T22" fmla="*/ 0 w 156"/>
                    <a:gd name="T23" fmla="*/ 3 h 26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56"/>
                    <a:gd name="T37" fmla="*/ 0 h 269"/>
                    <a:gd name="T38" fmla="*/ 156 w 156"/>
                    <a:gd name="T39" fmla="*/ 269 h 269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56" h="269">
                      <a:moveTo>
                        <a:pt x="0" y="106"/>
                      </a:moveTo>
                      <a:lnTo>
                        <a:pt x="28" y="0"/>
                      </a:lnTo>
                      <a:lnTo>
                        <a:pt x="85" y="4"/>
                      </a:lnTo>
                      <a:lnTo>
                        <a:pt x="97" y="72"/>
                      </a:lnTo>
                      <a:lnTo>
                        <a:pt x="55" y="145"/>
                      </a:lnTo>
                      <a:lnTo>
                        <a:pt x="65" y="188"/>
                      </a:lnTo>
                      <a:lnTo>
                        <a:pt x="148" y="212"/>
                      </a:lnTo>
                      <a:lnTo>
                        <a:pt x="156" y="269"/>
                      </a:lnTo>
                      <a:lnTo>
                        <a:pt x="103" y="212"/>
                      </a:lnTo>
                      <a:lnTo>
                        <a:pt x="103" y="240"/>
                      </a:lnTo>
                      <a:lnTo>
                        <a:pt x="28" y="212"/>
                      </a:lnTo>
                      <a:lnTo>
                        <a:pt x="0" y="10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4" name="Freeform 387"/>
                <p:cNvSpPr/>
                <p:nvPr/>
              </p:nvSpPr>
              <p:spPr bwMode="auto">
                <a:xfrm>
                  <a:off x="3455747" y="3667677"/>
                  <a:ext cx="20217" cy="25459"/>
                </a:xfrm>
                <a:custGeom>
                  <a:avLst/>
                  <a:gdLst>
                    <a:gd name="T0" fmla="*/ 0 w 43"/>
                    <a:gd name="T1" fmla="*/ 0 h 57"/>
                    <a:gd name="T2" fmla="*/ 1 w 43"/>
                    <a:gd name="T3" fmla="*/ 0 h 57"/>
                    <a:gd name="T4" fmla="*/ 1 w 43"/>
                    <a:gd name="T5" fmla="*/ 0 h 57"/>
                    <a:gd name="T6" fmla="*/ 1 w 43"/>
                    <a:gd name="T7" fmla="*/ 1 h 57"/>
                    <a:gd name="T8" fmla="*/ 0 w 43"/>
                    <a:gd name="T9" fmla="*/ 0 h 5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3"/>
                    <a:gd name="T16" fmla="*/ 0 h 57"/>
                    <a:gd name="T17" fmla="*/ 43 w 43"/>
                    <a:gd name="T18" fmla="*/ 57 h 5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3" h="57">
                      <a:moveTo>
                        <a:pt x="0" y="0"/>
                      </a:moveTo>
                      <a:lnTo>
                        <a:pt x="24" y="0"/>
                      </a:lnTo>
                      <a:lnTo>
                        <a:pt x="43" y="13"/>
                      </a:lnTo>
                      <a:lnTo>
                        <a:pt x="35" y="5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5" name="Freeform 388"/>
                <p:cNvSpPr/>
                <p:nvPr/>
              </p:nvSpPr>
              <p:spPr bwMode="auto">
                <a:xfrm>
                  <a:off x="3484387" y="3699501"/>
                  <a:ext cx="20217" cy="31824"/>
                </a:xfrm>
                <a:custGeom>
                  <a:avLst/>
                  <a:gdLst>
                    <a:gd name="T0" fmla="*/ 0 w 40"/>
                    <a:gd name="T1" fmla="*/ 0 h 70"/>
                    <a:gd name="T2" fmla="*/ 0 w 40"/>
                    <a:gd name="T3" fmla="*/ 2 h 70"/>
                    <a:gd name="T4" fmla="*/ 1 w 40"/>
                    <a:gd name="T5" fmla="*/ 1 h 70"/>
                    <a:gd name="T6" fmla="*/ 0 w 40"/>
                    <a:gd name="T7" fmla="*/ 0 h 7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0"/>
                    <a:gd name="T13" fmla="*/ 0 h 70"/>
                    <a:gd name="T14" fmla="*/ 40 w 40"/>
                    <a:gd name="T15" fmla="*/ 70 h 7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0" h="70">
                      <a:moveTo>
                        <a:pt x="0" y="0"/>
                      </a:moveTo>
                      <a:lnTo>
                        <a:pt x="5" y="70"/>
                      </a:lnTo>
                      <a:lnTo>
                        <a:pt x="40" y="4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6" name="Freeform 389"/>
                <p:cNvSpPr/>
                <p:nvPr/>
              </p:nvSpPr>
              <p:spPr bwMode="auto">
                <a:xfrm>
                  <a:off x="3487757" y="3742463"/>
                  <a:ext cx="79182" cy="84332"/>
                </a:xfrm>
                <a:custGeom>
                  <a:avLst/>
                  <a:gdLst>
                    <a:gd name="T0" fmla="*/ 0 w 167"/>
                    <a:gd name="T1" fmla="*/ 3 h 186"/>
                    <a:gd name="T2" fmla="*/ 1 w 167"/>
                    <a:gd name="T3" fmla="*/ 1 h 186"/>
                    <a:gd name="T4" fmla="*/ 2 w 167"/>
                    <a:gd name="T5" fmla="*/ 2 h 186"/>
                    <a:gd name="T6" fmla="*/ 3 w 167"/>
                    <a:gd name="T7" fmla="*/ 0 h 186"/>
                    <a:gd name="T8" fmla="*/ 4 w 167"/>
                    <a:gd name="T9" fmla="*/ 1 h 186"/>
                    <a:gd name="T10" fmla="*/ 4 w 167"/>
                    <a:gd name="T11" fmla="*/ 4 h 186"/>
                    <a:gd name="T12" fmla="*/ 3 w 167"/>
                    <a:gd name="T13" fmla="*/ 3 h 186"/>
                    <a:gd name="T14" fmla="*/ 3 w 167"/>
                    <a:gd name="T15" fmla="*/ 4 h 186"/>
                    <a:gd name="T16" fmla="*/ 2 w 167"/>
                    <a:gd name="T17" fmla="*/ 4 h 186"/>
                    <a:gd name="T18" fmla="*/ 1 w 167"/>
                    <a:gd name="T19" fmla="*/ 2 h 186"/>
                    <a:gd name="T20" fmla="*/ 0 w 167"/>
                    <a:gd name="T21" fmla="*/ 3 h 18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67"/>
                    <a:gd name="T34" fmla="*/ 0 h 186"/>
                    <a:gd name="T35" fmla="*/ 167 w 167"/>
                    <a:gd name="T36" fmla="*/ 186 h 18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67" h="186">
                      <a:moveTo>
                        <a:pt x="0" y="127"/>
                      </a:moveTo>
                      <a:lnTo>
                        <a:pt x="34" y="62"/>
                      </a:lnTo>
                      <a:lnTo>
                        <a:pt x="78" y="71"/>
                      </a:lnTo>
                      <a:lnTo>
                        <a:pt x="138" y="0"/>
                      </a:lnTo>
                      <a:lnTo>
                        <a:pt x="167" y="43"/>
                      </a:lnTo>
                      <a:lnTo>
                        <a:pt x="162" y="153"/>
                      </a:lnTo>
                      <a:lnTo>
                        <a:pt x="148" y="107"/>
                      </a:lnTo>
                      <a:lnTo>
                        <a:pt x="131" y="186"/>
                      </a:lnTo>
                      <a:lnTo>
                        <a:pt x="90" y="165"/>
                      </a:lnTo>
                      <a:lnTo>
                        <a:pt x="63" y="82"/>
                      </a:lnTo>
                      <a:lnTo>
                        <a:pt x="0" y="12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" name="Freeform 390"/>
                <p:cNvSpPr/>
                <p:nvPr/>
              </p:nvSpPr>
              <p:spPr bwMode="auto">
                <a:xfrm>
                  <a:off x="3496180" y="3723368"/>
                  <a:ext cx="18532" cy="33415"/>
                </a:xfrm>
                <a:custGeom>
                  <a:avLst/>
                  <a:gdLst>
                    <a:gd name="T0" fmla="*/ 0 w 37"/>
                    <a:gd name="T1" fmla="*/ 1 h 74"/>
                    <a:gd name="T2" fmla="*/ 0 w 37"/>
                    <a:gd name="T3" fmla="*/ 1 h 74"/>
                    <a:gd name="T4" fmla="*/ 1 w 37"/>
                    <a:gd name="T5" fmla="*/ 0 h 74"/>
                    <a:gd name="T6" fmla="*/ 1 w 37"/>
                    <a:gd name="T7" fmla="*/ 2 h 74"/>
                    <a:gd name="T8" fmla="*/ 0 w 37"/>
                    <a:gd name="T9" fmla="*/ 1 h 7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7"/>
                    <a:gd name="T16" fmla="*/ 0 h 74"/>
                    <a:gd name="T17" fmla="*/ 37 w 37"/>
                    <a:gd name="T18" fmla="*/ 74 h 7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7" h="74">
                      <a:moveTo>
                        <a:pt x="0" y="46"/>
                      </a:moveTo>
                      <a:lnTo>
                        <a:pt x="8" y="34"/>
                      </a:lnTo>
                      <a:lnTo>
                        <a:pt x="37" y="0"/>
                      </a:lnTo>
                      <a:lnTo>
                        <a:pt x="25" y="74"/>
                      </a:lnTo>
                      <a:lnTo>
                        <a:pt x="0" y="4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8" name="Freeform 391"/>
                <p:cNvSpPr/>
                <p:nvPr/>
              </p:nvSpPr>
              <p:spPr bwMode="auto">
                <a:xfrm>
                  <a:off x="1506522" y="2720926"/>
                  <a:ext cx="185320" cy="151162"/>
                </a:xfrm>
                <a:custGeom>
                  <a:avLst/>
                  <a:gdLst>
                    <a:gd name="T0" fmla="*/ 0 w 383"/>
                    <a:gd name="T1" fmla="*/ 1 h 337"/>
                    <a:gd name="T2" fmla="*/ 1 w 383"/>
                    <a:gd name="T3" fmla="*/ 5 h 337"/>
                    <a:gd name="T4" fmla="*/ 5 w 383"/>
                    <a:gd name="T5" fmla="*/ 7 h 337"/>
                    <a:gd name="T6" fmla="*/ 7 w 383"/>
                    <a:gd name="T7" fmla="*/ 8 h 337"/>
                    <a:gd name="T8" fmla="*/ 9 w 383"/>
                    <a:gd name="T9" fmla="*/ 6 h 337"/>
                    <a:gd name="T10" fmla="*/ 8 w 383"/>
                    <a:gd name="T11" fmla="*/ 3 h 337"/>
                    <a:gd name="T12" fmla="*/ 9 w 383"/>
                    <a:gd name="T13" fmla="*/ 3 h 337"/>
                    <a:gd name="T14" fmla="*/ 9 w 383"/>
                    <a:gd name="T15" fmla="*/ 1 h 337"/>
                    <a:gd name="T16" fmla="*/ 5 w 383"/>
                    <a:gd name="T17" fmla="*/ 0 h 337"/>
                    <a:gd name="T18" fmla="*/ 3 w 383"/>
                    <a:gd name="T19" fmla="*/ 0 h 337"/>
                    <a:gd name="T20" fmla="*/ 0 w 383"/>
                    <a:gd name="T21" fmla="*/ 1 h 337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83"/>
                    <a:gd name="T34" fmla="*/ 0 h 337"/>
                    <a:gd name="T35" fmla="*/ 383 w 383"/>
                    <a:gd name="T36" fmla="*/ 337 h 337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83" h="337">
                      <a:moveTo>
                        <a:pt x="0" y="61"/>
                      </a:moveTo>
                      <a:lnTo>
                        <a:pt x="26" y="237"/>
                      </a:lnTo>
                      <a:lnTo>
                        <a:pt x="222" y="326"/>
                      </a:lnTo>
                      <a:lnTo>
                        <a:pt x="319" y="337"/>
                      </a:lnTo>
                      <a:lnTo>
                        <a:pt x="383" y="248"/>
                      </a:lnTo>
                      <a:lnTo>
                        <a:pt x="349" y="149"/>
                      </a:lnTo>
                      <a:lnTo>
                        <a:pt x="375" y="124"/>
                      </a:lnTo>
                      <a:lnTo>
                        <a:pt x="358" y="45"/>
                      </a:lnTo>
                      <a:lnTo>
                        <a:pt x="213" y="19"/>
                      </a:lnTo>
                      <a:lnTo>
                        <a:pt x="118" y="0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" name="Freeform 392"/>
                <p:cNvSpPr/>
                <p:nvPr/>
              </p:nvSpPr>
              <p:spPr bwMode="auto">
                <a:xfrm>
                  <a:off x="1081972" y="3053482"/>
                  <a:ext cx="55596" cy="109791"/>
                </a:xfrm>
                <a:custGeom>
                  <a:avLst/>
                  <a:gdLst>
                    <a:gd name="T0" fmla="*/ 0 w 118"/>
                    <a:gd name="T1" fmla="*/ 4 h 245"/>
                    <a:gd name="T2" fmla="*/ 0 w 118"/>
                    <a:gd name="T3" fmla="*/ 0 h 245"/>
                    <a:gd name="T4" fmla="*/ 3 w 118"/>
                    <a:gd name="T5" fmla="*/ 0 h 245"/>
                    <a:gd name="T6" fmla="*/ 2 w 118"/>
                    <a:gd name="T7" fmla="*/ 3 h 245"/>
                    <a:gd name="T8" fmla="*/ 2 w 118"/>
                    <a:gd name="T9" fmla="*/ 5 h 245"/>
                    <a:gd name="T10" fmla="*/ 0 w 118"/>
                    <a:gd name="T11" fmla="*/ 5 h 245"/>
                    <a:gd name="T12" fmla="*/ 1 w 118"/>
                    <a:gd name="T13" fmla="*/ 4 h 245"/>
                    <a:gd name="T14" fmla="*/ 0 w 118"/>
                    <a:gd name="T15" fmla="*/ 4 h 24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8"/>
                    <a:gd name="T25" fmla="*/ 0 h 245"/>
                    <a:gd name="T26" fmla="*/ 118 w 118"/>
                    <a:gd name="T27" fmla="*/ 245 h 24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8" h="245">
                      <a:moveTo>
                        <a:pt x="0" y="161"/>
                      </a:moveTo>
                      <a:lnTo>
                        <a:pt x="19" y="0"/>
                      </a:lnTo>
                      <a:lnTo>
                        <a:pt x="118" y="9"/>
                      </a:lnTo>
                      <a:lnTo>
                        <a:pt x="76" y="112"/>
                      </a:lnTo>
                      <a:lnTo>
                        <a:pt x="76" y="238"/>
                      </a:lnTo>
                      <a:lnTo>
                        <a:pt x="17" y="245"/>
                      </a:lnTo>
                      <a:lnTo>
                        <a:pt x="25" y="169"/>
                      </a:lnTo>
                      <a:lnTo>
                        <a:pt x="0" y="16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0" name="Freeform 393"/>
                <p:cNvSpPr/>
                <p:nvPr/>
              </p:nvSpPr>
              <p:spPr bwMode="auto">
                <a:xfrm>
                  <a:off x="1619399" y="2892773"/>
                  <a:ext cx="175211" cy="111382"/>
                </a:xfrm>
                <a:custGeom>
                  <a:avLst/>
                  <a:gdLst>
                    <a:gd name="T0" fmla="*/ 0 w 366"/>
                    <a:gd name="T1" fmla="*/ 3 h 247"/>
                    <a:gd name="T2" fmla="*/ 2 w 366"/>
                    <a:gd name="T3" fmla="*/ 5 h 247"/>
                    <a:gd name="T4" fmla="*/ 7 w 366"/>
                    <a:gd name="T5" fmla="*/ 6 h 247"/>
                    <a:gd name="T6" fmla="*/ 9 w 366"/>
                    <a:gd name="T7" fmla="*/ 4 h 247"/>
                    <a:gd name="T8" fmla="*/ 7 w 366"/>
                    <a:gd name="T9" fmla="*/ 4 h 247"/>
                    <a:gd name="T10" fmla="*/ 7 w 366"/>
                    <a:gd name="T11" fmla="*/ 2 h 247"/>
                    <a:gd name="T12" fmla="*/ 6 w 366"/>
                    <a:gd name="T13" fmla="*/ 0 h 247"/>
                    <a:gd name="T14" fmla="*/ 2 w 366"/>
                    <a:gd name="T15" fmla="*/ 0 h 247"/>
                    <a:gd name="T16" fmla="*/ 0 w 366"/>
                    <a:gd name="T17" fmla="*/ 3 h 24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366"/>
                    <a:gd name="T28" fmla="*/ 0 h 247"/>
                    <a:gd name="T29" fmla="*/ 366 w 366"/>
                    <a:gd name="T30" fmla="*/ 247 h 24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366" h="247">
                      <a:moveTo>
                        <a:pt x="0" y="123"/>
                      </a:moveTo>
                      <a:lnTo>
                        <a:pt x="100" y="223"/>
                      </a:lnTo>
                      <a:lnTo>
                        <a:pt x="324" y="247"/>
                      </a:lnTo>
                      <a:lnTo>
                        <a:pt x="366" y="162"/>
                      </a:lnTo>
                      <a:lnTo>
                        <a:pt x="308" y="158"/>
                      </a:lnTo>
                      <a:lnTo>
                        <a:pt x="301" y="81"/>
                      </a:lnTo>
                      <a:lnTo>
                        <a:pt x="251" y="0"/>
                      </a:lnTo>
                      <a:lnTo>
                        <a:pt x="100" y="18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" name="Freeform 394"/>
                <p:cNvSpPr/>
                <p:nvPr/>
              </p:nvSpPr>
              <p:spPr bwMode="auto">
                <a:xfrm>
                  <a:off x="1883900" y="3274656"/>
                  <a:ext cx="387486" cy="351650"/>
                </a:xfrm>
                <a:custGeom>
                  <a:avLst/>
                  <a:gdLst>
                    <a:gd name="T0" fmla="*/ 0 w 805"/>
                    <a:gd name="T1" fmla="*/ 5 h 776"/>
                    <a:gd name="T2" fmla="*/ 0 w 805"/>
                    <a:gd name="T3" fmla="*/ 3 h 776"/>
                    <a:gd name="T4" fmla="*/ 1 w 805"/>
                    <a:gd name="T5" fmla="*/ 3 h 776"/>
                    <a:gd name="T6" fmla="*/ 3 w 805"/>
                    <a:gd name="T7" fmla="*/ 3 h 776"/>
                    <a:gd name="T8" fmla="*/ 3 w 805"/>
                    <a:gd name="T9" fmla="*/ 2 h 776"/>
                    <a:gd name="T10" fmla="*/ 2 w 805"/>
                    <a:gd name="T11" fmla="*/ 1 h 776"/>
                    <a:gd name="T12" fmla="*/ 4 w 805"/>
                    <a:gd name="T13" fmla="*/ 0 h 776"/>
                    <a:gd name="T14" fmla="*/ 8 w 805"/>
                    <a:gd name="T15" fmla="*/ 2 h 776"/>
                    <a:gd name="T16" fmla="*/ 8 w 805"/>
                    <a:gd name="T17" fmla="*/ 3 h 776"/>
                    <a:gd name="T18" fmla="*/ 9 w 805"/>
                    <a:gd name="T19" fmla="*/ 3 h 776"/>
                    <a:gd name="T20" fmla="*/ 10 w 805"/>
                    <a:gd name="T21" fmla="*/ 4 h 776"/>
                    <a:gd name="T22" fmla="*/ 11 w 805"/>
                    <a:gd name="T23" fmla="*/ 3 h 776"/>
                    <a:gd name="T24" fmla="*/ 12 w 805"/>
                    <a:gd name="T25" fmla="*/ 4 h 776"/>
                    <a:gd name="T26" fmla="*/ 14 w 805"/>
                    <a:gd name="T27" fmla="*/ 8 h 776"/>
                    <a:gd name="T28" fmla="*/ 15 w 805"/>
                    <a:gd name="T29" fmla="*/ 9 h 776"/>
                    <a:gd name="T30" fmla="*/ 15 w 805"/>
                    <a:gd name="T31" fmla="*/ 10 h 776"/>
                    <a:gd name="T32" fmla="*/ 18 w 805"/>
                    <a:gd name="T33" fmla="*/ 10 h 776"/>
                    <a:gd name="T34" fmla="*/ 19 w 805"/>
                    <a:gd name="T35" fmla="*/ 11 h 776"/>
                    <a:gd name="T36" fmla="*/ 18 w 805"/>
                    <a:gd name="T37" fmla="*/ 13 h 776"/>
                    <a:gd name="T38" fmla="*/ 15 w 805"/>
                    <a:gd name="T39" fmla="*/ 14 h 776"/>
                    <a:gd name="T40" fmla="*/ 13 w 805"/>
                    <a:gd name="T41" fmla="*/ 15 h 776"/>
                    <a:gd name="T42" fmla="*/ 10 w 805"/>
                    <a:gd name="T43" fmla="*/ 18 h 776"/>
                    <a:gd name="T44" fmla="*/ 10 w 805"/>
                    <a:gd name="T45" fmla="*/ 17 h 776"/>
                    <a:gd name="T46" fmla="*/ 9 w 805"/>
                    <a:gd name="T47" fmla="*/ 16 h 776"/>
                    <a:gd name="T48" fmla="*/ 7 w 805"/>
                    <a:gd name="T49" fmla="*/ 17 h 776"/>
                    <a:gd name="T50" fmla="*/ 5 w 805"/>
                    <a:gd name="T51" fmla="*/ 14 h 776"/>
                    <a:gd name="T52" fmla="*/ 4 w 805"/>
                    <a:gd name="T53" fmla="*/ 13 h 776"/>
                    <a:gd name="T54" fmla="*/ 3 w 805"/>
                    <a:gd name="T55" fmla="*/ 9 h 776"/>
                    <a:gd name="T56" fmla="*/ 0 w 805"/>
                    <a:gd name="T57" fmla="*/ 5 h 77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w 805"/>
                    <a:gd name="T88" fmla="*/ 0 h 776"/>
                    <a:gd name="T89" fmla="*/ 805 w 805"/>
                    <a:gd name="T90" fmla="*/ 776 h 77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T87" t="T88" r="T89" b="T90"/>
                  <a:pathLst>
                    <a:path w="805" h="776">
                      <a:moveTo>
                        <a:pt x="0" y="202"/>
                      </a:moveTo>
                      <a:lnTo>
                        <a:pt x="12" y="135"/>
                      </a:lnTo>
                      <a:lnTo>
                        <a:pt x="54" y="149"/>
                      </a:lnTo>
                      <a:lnTo>
                        <a:pt x="107" y="107"/>
                      </a:lnTo>
                      <a:lnTo>
                        <a:pt x="130" y="78"/>
                      </a:lnTo>
                      <a:lnTo>
                        <a:pt x="85" y="32"/>
                      </a:lnTo>
                      <a:lnTo>
                        <a:pt x="171" y="0"/>
                      </a:lnTo>
                      <a:lnTo>
                        <a:pt x="344" y="89"/>
                      </a:lnTo>
                      <a:lnTo>
                        <a:pt x="345" y="120"/>
                      </a:lnTo>
                      <a:lnTo>
                        <a:pt x="388" y="143"/>
                      </a:lnTo>
                      <a:lnTo>
                        <a:pt x="420" y="165"/>
                      </a:lnTo>
                      <a:lnTo>
                        <a:pt x="454" y="149"/>
                      </a:lnTo>
                      <a:lnTo>
                        <a:pt x="524" y="174"/>
                      </a:lnTo>
                      <a:lnTo>
                        <a:pt x="617" y="352"/>
                      </a:lnTo>
                      <a:lnTo>
                        <a:pt x="627" y="365"/>
                      </a:lnTo>
                      <a:lnTo>
                        <a:pt x="664" y="436"/>
                      </a:lnTo>
                      <a:lnTo>
                        <a:pt x="786" y="450"/>
                      </a:lnTo>
                      <a:lnTo>
                        <a:pt x="805" y="483"/>
                      </a:lnTo>
                      <a:lnTo>
                        <a:pt x="775" y="575"/>
                      </a:lnTo>
                      <a:lnTo>
                        <a:pt x="664" y="619"/>
                      </a:lnTo>
                      <a:lnTo>
                        <a:pt x="542" y="652"/>
                      </a:lnTo>
                      <a:lnTo>
                        <a:pt x="443" y="776"/>
                      </a:lnTo>
                      <a:lnTo>
                        <a:pt x="443" y="729"/>
                      </a:lnTo>
                      <a:lnTo>
                        <a:pt x="373" y="697"/>
                      </a:lnTo>
                      <a:lnTo>
                        <a:pt x="306" y="739"/>
                      </a:lnTo>
                      <a:lnTo>
                        <a:pt x="234" y="599"/>
                      </a:lnTo>
                      <a:lnTo>
                        <a:pt x="180" y="544"/>
                      </a:lnTo>
                      <a:lnTo>
                        <a:pt x="146" y="398"/>
                      </a:lnTo>
                      <a:lnTo>
                        <a:pt x="0" y="20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2" name="Freeform 395"/>
                <p:cNvSpPr/>
                <p:nvPr/>
              </p:nvSpPr>
              <p:spPr bwMode="auto">
                <a:xfrm>
                  <a:off x="1609290" y="1946023"/>
                  <a:ext cx="3130216" cy="1102686"/>
                </a:xfrm>
                <a:custGeom>
                  <a:avLst/>
                  <a:gdLst>
                    <a:gd name="T0" fmla="*/ 3 w 6518"/>
                    <a:gd name="T1" fmla="*/ 35 h 2431"/>
                    <a:gd name="T2" fmla="*/ 8 w 6518"/>
                    <a:gd name="T3" fmla="*/ 31 h 2431"/>
                    <a:gd name="T4" fmla="*/ 8 w 6518"/>
                    <a:gd name="T5" fmla="*/ 18 h 2431"/>
                    <a:gd name="T6" fmla="*/ 14 w 6518"/>
                    <a:gd name="T7" fmla="*/ 17 h 2431"/>
                    <a:gd name="T8" fmla="*/ 16 w 6518"/>
                    <a:gd name="T9" fmla="*/ 26 h 2431"/>
                    <a:gd name="T10" fmla="*/ 18 w 6518"/>
                    <a:gd name="T11" fmla="*/ 23 h 2431"/>
                    <a:gd name="T12" fmla="*/ 23 w 6518"/>
                    <a:gd name="T13" fmla="*/ 20 h 2431"/>
                    <a:gd name="T14" fmla="*/ 35 w 6518"/>
                    <a:gd name="T15" fmla="*/ 17 h 2431"/>
                    <a:gd name="T16" fmla="*/ 44 w 6518"/>
                    <a:gd name="T17" fmla="*/ 17 h 2431"/>
                    <a:gd name="T18" fmla="*/ 44 w 6518"/>
                    <a:gd name="T19" fmla="*/ 10 h 2431"/>
                    <a:gd name="T20" fmla="*/ 47 w 6518"/>
                    <a:gd name="T21" fmla="*/ 19 h 2431"/>
                    <a:gd name="T22" fmla="*/ 49 w 6518"/>
                    <a:gd name="T23" fmla="*/ 17 h 2431"/>
                    <a:gd name="T24" fmla="*/ 51 w 6518"/>
                    <a:gd name="T25" fmla="*/ 17 h 2431"/>
                    <a:gd name="T26" fmla="*/ 49 w 6518"/>
                    <a:gd name="T27" fmla="*/ 13 h 2431"/>
                    <a:gd name="T28" fmla="*/ 56 w 6518"/>
                    <a:gd name="T29" fmla="*/ 12 h 2431"/>
                    <a:gd name="T30" fmla="*/ 59 w 6518"/>
                    <a:gd name="T31" fmla="*/ 8 h 2431"/>
                    <a:gd name="T32" fmla="*/ 67 w 6518"/>
                    <a:gd name="T33" fmla="*/ 3 h 2431"/>
                    <a:gd name="T34" fmla="*/ 72 w 6518"/>
                    <a:gd name="T35" fmla="*/ 1 h 2431"/>
                    <a:gd name="T36" fmla="*/ 83 w 6518"/>
                    <a:gd name="T37" fmla="*/ 4 h 2431"/>
                    <a:gd name="T38" fmla="*/ 77 w 6518"/>
                    <a:gd name="T39" fmla="*/ 9 h 2431"/>
                    <a:gd name="T40" fmla="*/ 84 w 6518"/>
                    <a:gd name="T41" fmla="*/ 9 h 2431"/>
                    <a:gd name="T42" fmla="*/ 92 w 6518"/>
                    <a:gd name="T43" fmla="*/ 8 h 2431"/>
                    <a:gd name="T44" fmla="*/ 102 w 6518"/>
                    <a:gd name="T45" fmla="*/ 12 h 2431"/>
                    <a:gd name="T46" fmla="*/ 114 w 6518"/>
                    <a:gd name="T47" fmla="*/ 12 h 2431"/>
                    <a:gd name="T48" fmla="*/ 126 w 6518"/>
                    <a:gd name="T49" fmla="*/ 16 h 2431"/>
                    <a:gd name="T50" fmla="*/ 133 w 6518"/>
                    <a:gd name="T51" fmla="*/ 15 h 2431"/>
                    <a:gd name="T52" fmla="*/ 148 w 6518"/>
                    <a:gd name="T53" fmla="*/ 21 h 2431"/>
                    <a:gd name="T54" fmla="*/ 147 w 6518"/>
                    <a:gd name="T55" fmla="*/ 25 h 2431"/>
                    <a:gd name="T56" fmla="*/ 143 w 6518"/>
                    <a:gd name="T57" fmla="*/ 22 h 2431"/>
                    <a:gd name="T58" fmla="*/ 141 w 6518"/>
                    <a:gd name="T59" fmla="*/ 28 h 2431"/>
                    <a:gd name="T60" fmla="*/ 129 w 6518"/>
                    <a:gd name="T61" fmla="*/ 31 h 2431"/>
                    <a:gd name="T62" fmla="*/ 126 w 6518"/>
                    <a:gd name="T63" fmla="*/ 37 h 2431"/>
                    <a:gd name="T64" fmla="*/ 121 w 6518"/>
                    <a:gd name="T65" fmla="*/ 45 h 2431"/>
                    <a:gd name="T66" fmla="*/ 128 w 6518"/>
                    <a:gd name="T67" fmla="*/ 29 h 2431"/>
                    <a:gd name="T68" fmla="*/ 119 w 6518"/>
                    <a:gd name="T69" fmla="*/ 32 h 2431"/>
                    <a:gd name="T70" fmla="*/ 109 w 6518"/>
                    <a:gd name="T71" fmla="*/ 33 h 2431"/>
                    <a:gd name="T72" fmla="*/ 105 w 6518"/>
                    <a:gd name="T73" fmla="*/ 41 h 2431"/>
                    <a:gd name="T74" fmla="*/ 107 w 6518"/>
                    <a:gd name="T75" fmla="*/ 45 h 2431"/>
                    <a:gd name="T76" fmla="*/ 99 w 6518"/>
                    <a:gd name="T77" fmla="*/ 55 h 2431"/>
                    <a:gd name="T78" fmla="*/ 94 w 6518"/>
                    <a:gd name="T79" fmla="*/ 42 h 2431"/>
                    <a:gd name="T80" fmla="*/ 84 w 6518"/>
                    <a:gd name="T81" fmla="*/ 46 h 2431"/>
                    <a:gd name="T82" fmla="*/ 69 w 6518"/>
                    <a:gd name="T83" fmla="*/ 46 h 2431"/>
                    <a:gd name="T84" fmla="*/ 53 w 6518"/>
                    <a:gd name="T85" fmla="*/ 46 h 2431"/>
                    <a:gd name="T86" fmla="*/ 46 w 6518"/>
                    <a:gd name="T87" fmla="*/ 42 h 2431"/>
                    <a:gd name="T88" fmla="*/ 38 w 6518"/>
                    <a:gd name="T89" fmla="*/ 39 h 2431"/>
                    <a:gd name="T90" fmla="*/ 32 w 6518"/>
                    <a:gd name="T91" fmla="*/ 40 h 2431"/>
                    <a:gd name="T92" fmla="*/ 33 w 6518"/>
                    <a:gd name="T93" fmla="*/ 45 h 2431"/>
                    <a:gd name="T94" fmla="*/ 29 w 6518"/>
                    <a:gd name="T95" fmla="*/ 44 h 2431"/>
                    <a:gd name="T96" fmla="*/ 24 w 6518"/>
                    <a:gd name="T97" fmla="*/ 46 h 2431"/>
                    <a:gd name="T98" fmla="*/ 23 w 6518"/>
                    <a:gd name="T99" fmla="*/ 48 h 2431"/>
                    <a:gd name="T100" fmla="*/ 25 w 6518"/>
                    <a:gd name="T101" fmla="*/ 51 h 2431"/>
                    <a:gd name="T102" fmla="*/ 23 w 6518"/>
                    <a:gd name="T103" fmla="*/ 55 h 2431"/>
                    <a:gd name="T104" fmla="*/ 17 w 6518"/>
                    <a:gd name="T105" fmla="*/ 54 h 2431"/>
                    <a:gd name="T106" fmla="*/ 17 w 6518"/>
                    <a:gd name="T107" fmla="*/ 47 h 2431"/>
                    <a:gd name="T108" fmla="*/ 12 w 6518"/>
                    <a:gd name="T109" fmla="*/ 43 h 2431"/>
                    <a:gd name="T110" fmla="*/ 10 w 6518"/>
                    <a:gd name="T111" fmla="*/ 42 h 2431"/>
                    <a:gd name="T112" fmla="*/ 6 w 6518"/>
                    <a:gd name="T113" fmla="*/ 38 h 2431"/>
                    <a:gd name="T114" fmla="*/ 4 w 6518"/>
                    <a:gd name="T115" fmla="*/ 41 h 2431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6518"/>
                    <a:gd name="T175" fmla="*/ 0 h 2431"/>
                    <a:gd name="T176" fmla="*/ 6518 w 6518"/>
                    <a:gd name="T177" fmla="*/ 2431 h 2431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6518" h="2431">
                      <a:moveTo>
                        <a:pt x="0" y="1726"/>
                      </a:moveTo>
                      <a:lnTo>
                        <a:pt x="55" y="1671"/>
                      </a:lnTo>
                      <a:lnTo>
                        <a:pt x="36" y="1694"/>
                      </a:lnTo>
                      <a:lnTo>
                        <a:pt x="61" y="1701"/>
                      </a:lnTo>
                      <a:lnTo>
                        <a:pt x="55" y="1587"/>
                      </a:lnTo>
                      <a:lnTo>
                        <a:pt x="77" y="1534"/>
                      </a:lnTo>
                      <a:lnTo>
                        <a:pt x="108" y="1526"/>
                      </a:lnTo>
                      <a:lnTo>
                        <a:pt x="171" y="1575"/>
                      </a:lnTo>
                      <a:lnTo>
                        <a:pt x="182" y="1482"/>
                      </a:lnTo>
                      <a:lnTo>
                        <a:pt x="158" y="1483"/>
                      </a:lnTo>
                      <a:lnTo>
                        <a:pt x="147" y="1429"/>
                      </a:lnTo>
                      <a:lnTo>
                        <a:pt x="405" y="1377"/>
                      </a:lnTo>
                      <a:lnTo>
                        <a:pt x="339" y="1358"/>
                      </a:lnTo>
                      <a:lnTo>
                        <a:pt x="343" y="1330"/>
                      </a:lnTo>
                      <a:lnTo>
                        <a:pt x="305" y="1340"/>
                      </a:lnTo>
                      <a:lnTo>
                        <a:pt x="452" y="1197"/>
                      </a:lnTo>
                      <a:lnTo>
                        <a:pt x="389" y="1047"/>
                      </a:lnTo>
                      <a:lnTo>
                        <a:pt x="401" y="976"/>
                      </a:lnTo>
                      <a:lnTo>
                        <a:pt x="361" y="896"/>
                      </a:lnTo>
                      <a:lnTo>
                        <a:pt x="398" y="850"/>
                      </a:lnTo>
                      <a:lnTo>
                        <a:pt x="339" y="786"/>
                      </a:lnTo>
                      <a:lnTo>
                        <a:pt x="355" y="736"/>
                      </a:lnTo>
                      <a:lnTo>
                        <a:pt x="429" y="677"/>
                      </a:lnTo>
                      <a:lnTo>
                        <a:pt x="469" y="670"/>
                      </a:lnTo>
                      <a:lnTo>
                        <a:pt x="516" y="683"/>
                      </a:lnTo>
                      <a:lnTo>
                        <a:pt x="475" y="696"/>
                      </a:lnTo>
                      <a:lnTo>
                        <a:pt x="505" y="719"/>
                      </a:lnTo>
                      <a:lnTo>
                        <a:pt x="620" y="727"/>
                      </a:lnTo>
                      <a:lnTo>
                        <a:pt x="819" y="847"/>
                      </a:lnTo>
                      <a:lnTo>
                        <a:pt x="824" y="907"/>
                      </a:lnTo>
                      <a:lnTo>
                        <a:pt x="738" y="958"/>
                      </a:lnTo>
                      <a:lnTo>
                        <a:pt x="471" y="886"/>
                      </a:lnTo>
                      <a:lnTo>
                        <a:pt x="578" y="972"/>
                      </a:lnTo>
                      <a:lnTo>
                        <a:pt x="574" y="1074"/>
                      </a:lnTo>
                      <a:lnTo>
                        <a:pt x="682" y="1122"/>
                      </a:lnTo>
                      <a:lnTo>
                        <a:pt x="712" y="1114"/>
                      </a:lnTo>
                      <a:lnTo>
                        <a:pt x="698" y="1074"/>
                      </a:lnTo>
                      <a:lnTo>
                        <a:pt x="647" y="1057"/>
                      </a:lnTo>
                      <a:lnTo>
                        <a:pt x="659" y="1023"/>
                      </a:lnTo>
                      <a:lnTo>
                        <a:pt x="710" y="1061"/>
                      </a:lnTo>
                      <a:lnTo>
                        <a:pt x="813" y="1074"/>
                      </a:lnTo>
                      <a:lnTo>
                        <a:pt x="768" y="993"/>
                      </a:lnTo>
                      <a:lnTo>
                        <a:pt x="867" y="926"/>
                      </a:lnTo>
                      <a:lnTo>
                        <a:pt x="937" y="972"/>
                      </a:lnTo>
                      <a:lnTo>
                        <a:pt x="934" y="792"/>
                      </a:lnTo>
                      <a:lnTo>
                        <a:pt x="903" y="765"/>
                      </a:lnTo>
                      <a:lnTo>
                        <a:pt x="1023" y="805"/>
                      </a:lnTo>
                      <a:lnTo>
                        <a:pt x="1032" y="827"/>
                      </a:lnTo>
                      <a:lnTo>
                        <a:pt x="969" y="859"/>
                      </a:lnTo>
                      <a:lnTo>
                        <a:pt x="1032" y="917"/>
                      </a:lnTo>
                      <a:lnTo>
                        <a:pt x="1086" y="850"/>
                      </a:lnTo>
                      <a:lnTo>
                        <a:pt x="1303" y="743"/>
                      </a:lnTo>
                      <a:lnTo>
                        <a:pt x="1337" y="739"/>
                      </a:lnTo>
                      <a:lnTo>
                        <a:pt x="1303" y="755"/>
                      </a:lnTo>
                      <a:lnTo>
                        <a:pt x="1340" y="807"/>
                      </a:lnTo>
                      <a:lnTo>
                        <a:pt x="1500" y="739"/>
                      </a:lnTo>
                      <a:lnTo>
                        <a:pt x="1536" y="789"/>
                      </a:lnTo>
                      <a:lnTo>
                        <a:pt x="1575" y="748"/>
                      </a:lnTo>
                      <a:lnTo>
                        <a:pt x="1553" y="693"/>
                      </a:lnTo>
                      <a:lnTo>
                        <a:pt x="1578" y="674"/>
                      </a:lnTo>
                      <a:lnTo>
                        <a:pt x="1699" y="701"/>
                      </a:lnTo>
                      <a:lnTo>
                        <a:pt x="1858" y="803"/>
                      </a:lnTo>
                      <a:lnTo>
                        <a:pt x="1888" y="754"/>
                      </a:lnTo>
                      <a:lnTo>
                        <a:pt x="1855" y="704"/>
                      </a:lnTo>
                      <a:lnTo>
                        <a:pt x="1807" y="688"/>
                      </a:lnTo>
                      <a:lnTo>
                        <a:pt x="1824" y="608"/>
                      </a:lnTo>
                      <a:lnTo>
                        <a:pt x="1795" y="597"/>
                      </a:lnTo>
                      <a:lnTo>
                        <a:pt x="1803" y="560"/>
                      </a:lnTo>
                      <a:lnTo>
                        <a:pt x="1861" y="521"/>
                      </a:lnTo>
                      <a:lnTo>
                        <a:pt x="1899" y="424"/>
                      </a:lnTo>
                      <a:lnTo>
                        <a:pt x="1981" y="425"/>
                      </a:lnTo>
                      <a:lnTo>
                        <a:pt x="2024" y="439"/>
                      </a:lnTo>
                      <a:lnTo>
                        <a:pt x="1990" y="543"/>
                      </a:lnTo>
                      <a:lnTo>
                        <a:pt x="2028" y="593"/>
                      </a:lnTo>
                      <a:lnTo>
                        <a:pt x="2017" y="736"/>
                      </a:lnTo>
                      <a:lnTo>
                        <a:pt x="2056" y="784"/>
                      </a:lnTo>
                      <a:lnTo>
                        <a:pt x="2039" y="836"/>
                      </a:lnTo>
                      <a:lnTo>
                        <a:pt x="1977" y="877"/>
                      </a:lnTo>
                      <a:lnTo>
                        <a:pt x="1996" y="896"/>
                      </a:lnTo>
                      <a:lnTo>
                        <a:pt x="1914" y="915"/>
                      </a:lnTo>
                      <a:lnTo>
                        <a:pt x="2002" y="949"/>
                      </a:lnTo>
                      <a:lnTo>
                        <a:pt x="2105" y="836"/>
                      </a:lnTo>
                      <a:lnTo>
                        <a:pt x="2091" y="765"/>
                      </a:lnTo>
                      <a:lnTo>
                        <a:pt x="2123" y="754"/>
                      </a:lnTo>
                      <a:lnTo>
                        <a:pt x="2176" y="740"/>
                      </a:lnTo>
                      <a:lnTo>
                        <a:pt x="2204" y="781"/>
                      </a:lnTo>
                      <a:lnTo>
                        <a:pt x="2201" y="835"/>
                      </a:lnTo>
                      <a:lnTo>
                        <a:pt x="2263" y="851"/>
                      </a:lnTo>
                      <a:lnTo>
                        <a:pt x="2212" y="834"/>
                      </a:lnTo>
                      <a:lnTo>
                        <a:pt x="2236" y="801"/>
                      </a:lnTo>
                      <a:lnTo>
                        <a:pt x="2214" y="754"/>
                      </a:lnTo>
                      <a:lnTo>
                        <a:pt x="2067" y="723"/>
                      </a:lnTo>
                      <a:lnTo>
                        <a:pt x="2091" y="612"/>
                      </a:lnTo>
                      <a:lnTo>
                        <a:pt x="2039" y="543"/>
                      </a:lnTo>
                      <a:lnTo>
                        <a:pt x="2112" y="479"/>
                      </a:lnTo>
                      <a:lnTo>
                        <a:pt x="2106" y="433"/>
                      </a:lnTo>
                      <a:lnTo>
                        <a:pt x="2137" y="459"/>
                      </a:lnTo>
                      <a:lnTo>
                        <a:pt x="2120" y="550"/>
                      </a:lnTo>
                      <a:lnTo>
                        <a:pt x="2145" y="560"/>
                      </a:lnTo>
                      <a:lnTo>
                        <a:pt x="2246" y="587"/>
                      </a:lnTo>
                      <a:lnTo>
                        <a:pt x="2153" y="514"/>
                      </a:lnTo>
                      <a:lnTo>
                        <a:pt x="2221" y="517"/>
                      </a:lnTo>
                      <a:lnTo>
                        <a:pt x="2206" y="487"/>
                      </a:lnTo>
                      <a:lnTo>
                        <a:pt x="2246" y="472"/>
                      </a:lnTo>
                      <a:lnTo>
                        <a:pt x="2429" y="532"/>
                      </a:lnTo>
                      <a:lnTo>
                        <a:pt x="2394" y="568"/>
                      </a:lnTo>
                      <a:lnTo>
                        <a:pt x="2389" y="628"/>
                      </a:lnTo>
                      <a:lnTo>
                        <a:pt x="2427" y="660"/>
                      </a:lnTo>
                      <a:lnTo>
                        <a:pt x="2446" y="532"/>
                      </a:lnTo>
                      <a:lnTo>
                        <a:pt x="2347" y="466"/>
                      </a:lnTo>
                      <a:lnTo>
                        <a:pt x="2325" y="375"/>
                      </a:lnTo>
                      <a:lnTo>
                        <a:pt x="2558" y="344"/>
                      </a:lnTo>
                      <a:lnTo>
                        <a:pt x="2529" y="260"/>
                      </a:lnTo>
                      <a:lnTo>
                        <a:pt x="2558" y="279"/>
                      </a:lnTo>
                      <a:lnTo>
                        <a:pt x="2599" y="247"/>
                      </a:lnTo>
                      <a:lnTo>
                        <a:pt x="2568" y="237"/>
                      </a:lnTo>
                      <a:lnTo>
                        <a:pt x="2816" y="171"/>
                      </a:lnTo>
                      <a:lnTo>
                        <a:pt x="2794" y="152"/>
                      </a:lnTo>
                      <a:lnTo>
                        <a:pt x="2909" y="145"/>
                      </a:lnTo>
                      <a:lnTo>
                        <a:pt x="2908" y="167"/>
                      </a:lnTo>
                      <a:lnTo>
                        <a:pt x="2934" y="167"/>
                      </a:lnTo>
                      <a:lnTo>
                        <a:pt x="3018" y="137"/>
                      </a:lnTo>
                      <a:lnTo>
                        <a:pt x="3057" y="153"/>
                      </a:lnTo>
                      <a:lnTo>
                        <a:pt x="3019" y="117"/>
                      </a:lnTo>
                      <a:lnTo>
                        <a:pt x="3113" y="110"/>
                      </a:lnTo>
                      <a:lnTo>
                        <a:pt x="3116" y="64"/>
                      </a:lnTo>
                      <a:lnTo>
                        <a:pt x="3223" y="0"/>
                      </a:lnTo>
                      <a:lnTo>
                        <a:pt x="3300" y="38"/>
                      </a:lnTo>
                      <a:lnTo>
                        <a:pt x="3235" y="71"/>
                      </a:lnTo>
                      <a:lnTo>
                        <a:pt x="3348" y="69"/>
                      </a:lnTo>
                      <a:lnTo>
                        <a:pt x="3301" y="117"/>
                      </a:lnTo>
                      <a:lnTo>
                        <a:pt x="3491" y="92"/>
                      </a:lnTo>
                      <a:lnTo>
                        <a:pt x="3593" y="167"/>
                      </a:lnTo>
                      <a:lnTo>
                        <a:pt x="3577" y="194"/>
                      </a:lnTo>
                      <a:lnTo>
                        <a:pt x="3543" y="176"/>
                      </a:lnTo>
                      <a:lnTo>
                        <a:pt x="3590" y="201"/>
                      </a:lnTo>
                      <a:lnTo>
                        <a:pt x="3568" y="244"/>
                      </a:lnTo>
                      <a:lnTo>
                        <a:pt x="3223" y="456"/>
                      </a:lnTo>
                      <a:lnTo>
                        <a:pt x="3335" y="428"/>
                      </a:lnTo>
                      <a:lnTo>
                        <a:pt x="3311" y="401"/>
                      </a:lnTo>
                      <a:lnTo>
                        <a:pt x="3485" y="362"/>
                      </a:lnTo>
                      <a:lnTo>
                        <a:pt x="3437" y="367"/>
                      </a:lnTo>
                      <a:lnTo>
                        <a:pt x="3448" y="332"/>
                      </a:lnTo>
                      <a:lnTo>
                        <a:pt x="3543" y="362"/>
                      </a:lnTo>
                      <a:lnTo>
                        <a:pt x="3560" y="332"/>
                      </a:lnTo>
                      <a:lnTo>
                        <a:pt x="3579" y="401"/>
                      </a:lnTo>
                      <a:lnTo>
                        <a:pt x="3626" y="406"/>
                      </a:lnTo>
                      <a:lnTo>
                        <a:pt x="3582" y="376"/>
                      </a:lnTo>
                      <a:lnTo>
                        <a:pt x="3675" y="362"/>
                      </a:lnTo>
                      <a:lnTo>
                        <a:pt x="3786" y="375"/>
                      </a:lnTo>
                      <a:lnTo>
                        <a:pt x="3778" y="401"/>
                      </a:lnTo>
                      <a:lnTo>
                        <a:pt x="3871" y="424"/>
                      </a:lnTo>
                      <a:lnTo>
                        <a:pt x="3954" y="418"/>
                      </a:lnTo>
                      <a:lnTo>
                        <a:pt x="3958" y="353"/>
                      </a:lnTo>
                      <a:lnTo>
                        <a:pt x="3983" y="347"/>
                      </a:lnTo>
                      <a:lnTo>
                        <a:pt x="4193" y="418"/>
                      </a:lnTo>
                      <a:lnTo>
                        <a:pt x="4167" y="532"/>
                      </a:lnTo>
                      <a:lnTo>
                        <a:pt x="4264" y="608"/>
                      </a:lnTo>
                      <a:lnTo>
                        <a:pt x="4319" y="504"/>
                      </a:lnTo>
                      <a:lnTo>
                        <a:pt x="4354" y="550"/>
                      </a:lnTo>
                      <a:lnTo>
                        <a:pt x="4424" y="532"/>
                      </a:lnTo>
                      <a:lnTo>
                        <a:pt x="4519" y="568"/>
                      </a:lnTo>
                      <a:lnTo>
                        <a:pt x="4593" y="547"/>
                      </a:lnTo>
                      <a:lnTo>
                        <a:pt x="4589" y="504"/>
                      </a:lnTo>
                      <a:lnTo>
                        <a:pt x="4640" y="431"/>
                      </a:lnTo>
                      <a:lnTo>
                        <a:pt x="4957" y="482"/>
                      </a:lnTo>
                      <a:lnTo>
                        <a:pt x="4978" y="516"/>
                      </a:lnTo>
                      <a:lnTo>
                        <a:pt x="4938" y="531"/>
                      </a:lnTo>
                      <a:lnTo>
                        <a:pt x="5042" y="547"/>
                      </a:lnTo>
                      <a:lnTo>
                        <a:pt x="5080" y="597"/>
                      </a:lnTo>
                      <a:lnTo>
                        <a:pt x="5319" y="587"/>
                      </a:lnTo>
                      <a:lnTo>
                        <a:pt x="5362" y="628"/>
                      </a:lnTo>
                      <a:lnTo>
                        <a:pt x="5345" y="677"/>
                      </a:lnTo>
                      <a:lnTo>
                        <a:pt x="5415" y="712"/>
                      </a:lnTo>
                      <a:lnTo>
                        <a:pt x="5451" y="685"/>
                      </a:lnTo>
                      <a:lnTo>
                        <a:pt x="5622" y="705"/>
                      </a:lnTo>
                      <a:lnTo>
                        <a:pt x="5655" y="677"/>
                      </a:lnTo>
                      <a:lnTo>
                        <a:pt x="5677" y="721"/>
                      </a:lnTo>
                      <a:lnTo>
                        <a:pt x="5747" y="757"/>
                      </a:lnTo>
                      <a:lnTo>
                        <a:pt x="5780" y="732"/>
                      </a:lnTo>
                      <a:lnTo>
                        <a:pt x="5744" y="693"/>
                      </a:lnTo>
                      <a:lnTo>
                        <a:pt x="5765" y="660"/>
                      </a:lnTo>
                      <a:lnTo>
                        <a:pt x="6062" y="711"/>
                      </a:lnTo>
                      <a:lnTo>
                        <a:pt x="6258" y="838"/>
                      </a:lnTo>
                      <a:lnTo>
                        <a:pt x="6302" y="838"/>
                      </a:lnTo>
                      <a:lnTo>
                        <a:pt x="6352" y="942"/>
                      </a:lnTo>
                      <a:lnTo>
                        <a:pt x="6328" y="886"/>
                      </a:lnTo>
                      <a:lnTo>
                        <a:pt x="6361" y="881"/>
                      </a:lnTo>
                      <a:lnTo>
                        <a:pt x="6383" y="903"/>
                      </a:lnTo>
                      <a:lnTo>
                        <a:pt x="6439" y="896"/>
                      </a:lnTo>
                      <a:lnTo>
                        <a:pt x="6518" y="954"/>
                      </a:lnTo>
                      <a:lnTo>
                        <a:pt x="6404" y="1020"/>
                      </a:lnTo>
                      <a:lnTo>
                        <a:pt x="6428" y="1039"/>
                      </a:lnTo>
                      <a:lnTo>
                        <a:pt x="6387" y="1051"/>
                      </a:lnTo>
                      <a:lnTo>
                        <a:pt x="6420" y="1076"/>
                      </a:lnTo>
                      <a:lnTo>
                        <a:pt x="6352" y="1077"/>
                      </a:lnTo>
                      <a:lnTo>
                        <a:pt x="6327" y="1039"/>
                      </a:lnTo>
                      <a:lnTo>
                        <a:pt x="6303" y="1054"/>
                      </a:lnTo>
                      <a:lnTo>
                        <a:pt x="6258" y="993"/>
                      </a:lnTo>
                      <a:lnTo>
                        <a:pt x="6179" y="995"/>
                      </a:lnTo>
                      <a:lnTo>
                        <a:pt x="6158" y="958"/>
                      </a:lnTo>
                      <a:lnTo>
                        <a:pt x="6178" y="942"/>
                      </a:lnTo>
                      <a:lnTo>
                        <a:pt x="6150" y="942"/>
                      </a:lnTo>
                      <a:lnTo>
                        <a:pt x="6124" y="954"/>
                      </a:lnTo>
                      <a:lnTo>
                        <a:pt x="6151" y="996"/>
                      </a:lnTo>
                      <a:lnTo>
                        <a:pt x="6135" y="1023"/>
                      </a:lnTo>
                      <a:lnTo>
                        <a:pt x="6069" y="1065"/>
                      </a:lnTo>
                      <a:lnTo>
                        <a:pt x="6024" y="1055"/>
                      </a:lnTo>
                      <a:lnTo>
                        <a:pt x="6099" y="1173"/>
                      </a:lnTo>
                      <a:lnTo>
                        <a:pt x="6085" y="1219"/>
                      </a:lnTo>
                      <a:lnTo>
                        <a:pt x="6009" y="1187"/>
                      </a:lnTo>
                      <a:lnTo>
                        <a:pt x="6012" y="1206"/>
                      </a:lnTo>
                      <a:lnTo>
                        <a:pt x="5875" y="1264"/>
                      </a:lnTo>
                      <a:lnTo>
                        <a:pt x="5751" y="1384"/>
                      </a:lnTo>
                      <a:lnTo>
                        <a:pt x="5669" y="1338"/>
                      </a:lnTo>
                      <a:lnTo>
                        <a:pt x="5593" y="1387"/>
                      </a:lnTo>
                      <a:lnTo>
                        <a:pt x="5593" y="1344"/>
                      </a:lnTo>
                      <a:lnTo>
                        <a:pt x="5549" y="1388"/>
                      </a:lnTo>
                      <a:lnTo>
                        <a:pt x="5493" y="1386"/>
                      </a:lnTo>
                      <a:lnTo>
                        <a:pt x="5436" y="1502"/>
                      </a:lnTo>
                      <a:lnTo>
                        <a:pt x="5483" y="1526"/>
                      </a:lnTo>
                      <a:lnTo>
                        <a:pt x="5465" y="1564"/>
                      </a:lnTo>
                      <a:lnTo>
                        <a:pt x="5486" y="1625"/>
                      </a:lnTo>
                      <a:lnTo>
                        <a:pt x="5446" y="1614"/>
                      </a:lnTo>
                      <a:lnTo>
                        <a:pt x="5423" y="1668"/>
                      </a:lnTo>
                      <a:lnTo>
                        <a:pt x="5437" y="1714"/>
                      </a:lnTo>
                      <a:lnTo>
                        <a:pt x="5353" y="1753"/>
                      </a:lnTo>
                      <a:lnTo>
                        <a:pt x="5362" y="1808"/>
                      </a:lnTo>
                      <a:lnTo>
                        <a:pt x="5306" y="1822"/>
                      </a:lnTo>
                      <a:lnTo>
                        <a:pt x="5293" y="1881"/>
                      </a:lnTo>
                      <a:lnTo>
                        <a:pt x="5241" y="1943"/>
                      </a:lnTo>
                      <a:lnTo>
                        <a:pt x="5196" y="1714"/>
                      </a:lnTo>
                      <a:lnTo>
                        <a:pt x="5200" y="1591"/>
                      </a:lnTo>
                      <a:lnTo>
                        <a:pt x="5241" y="1518"/>
                      </a:lnTo>
                      <a:lnTo>
                        <a:pt x="5299" y="1503"/>
                      </a:lnTo>
                      <a:lnTo>
                        <a:pt x="5434" y="1350"/>
                      </a:lnTo>
                      <a:lnTo>
                        <a:pt x="5498" y="1318"/>
                      </a:lnTo>
                      <a:lnTo>
                        <a:pt x="5520" y="1230"/>
                      </a:lnTo>
                      <a:lnTo>
                        <a:pt x="5549" y="1207"/>
                      </a:lnTo>
                      <a:lnTo>
                        <a:pt x="5497" y="1206"/>
                      </a:lnTo>
                      <a:lnTo>
                        <a:pt x="5482" y="1279"/>
                      </a:lnTo>
                      <a:lnTo>
                        <a:pt x="5367" y="1340"/>
                      </a:lnTo>
                      <a:lnTo>
                        <a:pt x="5378" y="1246"/>
                      </a:lnTo>
                      <a:lnTo>
                        <a:pt x="5254" y="1268"/>
                      </a:lnTo>
                      <a:lnTo>
                        <a:pt x="5138" y="1387"/>
                      </a:lnTo>
                      <a:lnTo>
                        <a:pt x="5161" y="1438"/>
                      </a:lnTo>
                      <a:lnTo>
                        <a:pt x="5037" y="1455"/>
                      </a:lnTo>
                      <a:lnTo>
                        <a:pt x="5021" y="1440"/>
                      </a:lnTo>
                      <a:lnTo>
                        <a:pt x="5063" y="1432"/>
                      </a:lnTo>
                      <a:lnTo>
                        <a:pt x="4959" y="1400"/>
                      </a:lnTo>
                      <a:lnTo>
                        <a:pt x="4929" y="1432"/>
                      </a:lnTo>
                      <a:lnTo>
                        <a:pt x="4694" y="1433"/>
                      </a:lnTo>
                      <a:lnTo>
                        <a:pt x="4417" y="1709"/>
                      </a:lnTo>
                      <a:lnTo>
                        <a:pt x="4473" y="1721"/>
                      </a:lnTo>
                      <a:lnTo>
                        <a:pt x="4473" y="1771"/>
                      </a:lnTo>
                      <a:lnTo>
                        <a:pt x="4507" y="1740"/>
                      </a:lnTo>
                      <a:lnTo>
                        <a:pt x="4497" y="1783"/>
                      </a:lnTo>
                      <a:lnTo>
                        <a:pt x="4537" y="1759"/>
                      </a:lnTo>
                      <a:lnTo>
                        <a:pt x="4535" y="1786"/>
                      </a:lnTo>
                      <a:lnTo>
                        <a:pt x="4546" y="1740"/>
                      </a:lnTo>
                      <a:lnTo>
                        <a:pt x="4589" y="1741"/>
                      </a:lnTo>
                      <a:lnTo>
                        <a:pt x="4647" y="1801"/>
                      </a:lnTo>
                      <a:lnTo>
                        <a:pt x="4592" y="1806"/>
                      </a:lnTo>
                      <a:lnTo>
                        <a:pt x="4641" y="1824"/>
                      </a:lnTo>
                      <a:lnTo>
                        <a:pt x="4653" y="1866"/>
                      </a:lnTo>
                      <a:lnTo>
                        <a:pt x="4614" y="1952"/>
                      </a:lnTo>
                      <a:lnTo>
                        <a:pt x="4606" y="2082"/>
                      </a:lnTo>
                      <a:lnTo>
                        <a:pt x="4411" y="2358"/>
                      </a:lnTo>
                      <a:lnTo>
                        <a:pt x="4342" y="2396"/>
                      </a:lnTo>
                      <a:lnTo>
                        <a:pt x="4287" y="2358"/>
                      </a:lnTo>
                      <a:lnTo>
                        <a:pt x="4240" y="2412"/>
                      </a:lnTo>
                      <a:lnTo>
                        <a:pt x="4237" y="2401"/>
                      </a:lnTo>
                      <a:lnTo>
                        <a:pt x="4262" y="2358"/>
                      </a:lnTo>
                      <a:lnTo>
                        <a:pt x="4249" y="2289"/>
                      </a:lnTo>
                      <a:lnTo>
                        <a:pt x="4334" y="2261"/>
                      </a:lnTo>
                      <a:lnTo>
                        <a:pt x="4403" y="2077"/>
                      </a:lnTo>
                      <a:lnTo>
                        <a:pt x="4257" y="2121"/>
                      </a:lnTo>
                      <a:lnTo>
                        <a:pt x="4237" y="2052"/>
                      </a:lnTo>
                      <a:lnTo>
                        <a:pt x="4120" y="2010"/>
                      </a:lnTo>
                      <a:lnTo>
                        <a:pt x="4050" y="1821"/>
                      </a:lnTo>
                      <a:lnTo>
                        <a:pt x="3972" y="1786"/>
                      </a:lnTo>
                      <a:lnTo>
                        <a:pt x="3834" y="1837"/>
                      </a:lnTo>
                      <a:lnTo>
                        <a:pt x="3859" y="1878"/>
                      </a:lnTo>
                      <a:lnTo>
                        <a:pt x="3802" y="1990"/>
                      </a:lnTo>
                      <a:lnTo>
                        <a:pt x="3748" y="2020"/>
                      </a:lnTo>
                      <a:lnTo>
                        <a:pt x="3691" y="1993"/>
                      </a:lnTo>
                      <a:lnTo>
                        <a:pt x="3621" y="1981"/>
                      </a:lnTo>
                      <a:lnTo>
                        <a:pt x="3441" y="2033"/>
                      </a:lnTo>
                      <a:lnTo>
                        <a:pt x="3280" y="1956"/>
                      </a:lnTo>
                      <a:lnTo>
                        <a:pt x="3179" y="1967"/>
                      </a:lnTo>
                      <a:lnTo>
                        <a:pt x="3142" y="1905"/>
                      </a:lnTo>
                      <a:lnTo>
                        <a:pt x="3042" y="1866"/>
                      </a:lnTo>
                      <a:lnTo>
                        <a:pt x="2989" y="1908"/>
                      </a:lnTo>
                      <a:lnTo>
                        <a:pt x="2986" y="1992"/>
                      </a:lnTo>
                      <a:lnTo>
                        <a:pt x="2756" y="1955"/>
                      </a:lnTo>
                      <a:lnTo>
                        <a:pt x="2633" y="2033"/>
                      </a:lnTo>
                      <a:lnTo>
                        <a:pt x="2568" y="2063"/>
                      </a:lnTo>
                      <a:lnTo>
                        <a:pt x="2488" y="2002"/>
                      </a:lnTo>
                      <a:lnTo>
                        <a:pt x="2435" y="2036"/>
                      </a:lnTo>
                      <a:lnTo>
                        <a:pt x="2339" y="1993"/>
                      </a:lnTo>
                      <a:lnTo>
                        <a:pt x="2302" y="1990"/>
                      </a:lnTo>
                      <a:lnTo>
                        <a:pt x="2275" y="1923"/>
                      </a:lnTo>
                      <a:lnTo>
                        <a:pt x="2221" y="1923"/>
                      </a:lnTo>
                      <a:lnTo>
                        <a:pt x="2202" y="1935"/>
                      </a:lnTo>
                      <a:lnTo>
                        <a:pt x="2159" y="1885"/>
                      </a:lnTo>
                      <a:lnTo>
                        <a:pt x="2130" y="1898"/>
                      </a:lnTo>
                      <a:lnTo>
                        <a:pt x="2106" y="1914"/>
                      </a:lnTo>
                      <a:lnTo>
                        <a:pt x="1996" y="1812"/>
                      </a:lnTo>
                      <a:lnTo>
                        <a:pt x="1965" y="1802"/>
                      </a:lnTo>
                      <a:lnTo>
                        <a:pt x="1893" y="1724"/>
                      </a:lnTo>
                      <a:lnTo>
                        <a:pt x="1825" y="1771"/>
                      </a:lnTo>
                      <a:lnTo>
                        <a:pt x="1813" y="1739"/>
                      </a:lnTo>
                      <a:lnTo>
                        <a:pt x="1713" y="1733"/>
                      </a:lnTo>
                      <a:lnTo>
                        <a:pt x="1674" y="1678"/>
                      </a:lnTo>
                      <a:lnTo>
                        <a:pt x="1622" y="1682"/>
                      </a:lnTo>
                      <a:lnTo>
                        <a:pt x="1601" y="1705"/>
                      </a:lnTo>
                      <a:lnTo>
                        <a:pt x="1536" y="1718"/>
                      </a:lnTo>
                      <a:lnTo>
                        <a:pt x="1517" y="1705"/>
                      </a:lnTo>
                      <a:lnTo>
                        <a:pt x="1493" y="1749"/>
                      </a:lnTo>
                      <a:lnTo>
                        <a:pt x="1471" y="1739"/>
                      </a:lnTo>
                      <a:lnTo>
                        <a:pt x="1392" y="1751"/>
                      </a:lnTo>
                      <a:lnTo>
                        <a:pt x="1367" y="1739"/>
                      </a:lnTo>
                      <a:lnTo>
                        <a:pt x="1357" y="1751"/>
                      </a:lnTo>
                      <a:lnTo>
                        <a:pt x="1398" y="1802"/>
                      </a:lnTo>
                      <a:lnTo>
                        <a:pt x="1369" y="1832"/>
                      </a:lnTo>
                      <a:lnTo>
                        <a:pt x="1370" y="1874"/>
                      </a:lnTo>
                      <a:lnTo>
                        <a:pt x="1416" y="1875"/>
                      </a:lnTo>
                      <a:lnTo>
                        <a:pt x="1438" y="1914"/>
                      </a:lnTo>
                      <a:lnTo>
                        <a:pt x="1424" y="1944"/>
                      </a:lnTo>
                      <a:lnTo>
                        <a:pt x="1392" y="1923"/>
                      </a:lnTo>
                      <a:lnTo>
                        <a:pt x="1367" y="1943"/>
                      </a:lnTo>
                      <a:lnTo>
                        <a:pt x="1339" y="1927"/>
                      </a:lnTo>
                      <a:lnTo>
                        <a:pt x="1325" y="1898"/>
                      </a:lnTo>
                      <a:lnTo>
                        <a:pt x="1295" y="1914"/>
                      </a:lnTo>
                      <a:lnTo>
                        <a:pt x="1273" y="1900"/>
                      </a:lnTo>
                      <a:lnTo>
                        <a:pt x="1245" y="1923"/>
                      </a:lnTo>
                      <a:lnTo>
                        <a:pt x="1211" y="1929"/>
                      </a:lnTo>
                      <a:lnTo>
                        <a:pt x="1190" y="1898"/>
                      </a:lnTo>
                      <a:lnTo>
                        <a:pt x="1066" y="1890"/>
                      </a:lnTo>
                      <a:lnTo>
                        <a:pt x="1054" y="1905"/>
                      </a:lnTo>
                      <a:lnTo>
                        <a:pt x="1042" y="1904"/>
                      </a:lnTo>
                      <a:lnTo>
                        <a:pt x="1020" y="1937"/>
                      </a:lnTo>
                      <a:lnTo>
                        <a:pt x="1023" y="1970"/>
                      </a:lnTo>
                      <a:lnTo>
                        <a:pt x="1008" y="1973"/>
                      </a:lnTo>
                      <a:lnTo>
                        <a:pt x="999" y="1944"/>
                      </a:lnTo>
                      <a:lnTo>
                        <a:pt x="980" y="1947"/>
                      </a:lnTo>
                      <a:lnTo>
                        <a:pt x="975" y="2042"/>
                      </a:lnTo>
                      <a:lnTo>
                        <a:pt x="993" y="2070"/>
                      </a:lnTo>
                      <a:lnTo>
                        <a:pt x="993" y="2096"/>
                      </a:lnTo>
                      <a:lnTo>
                        <a:pt x="1015" y="2092"/>
                      </a:lnTo>
                      <a:lnTo>
                        <a:pt x="1042" y="2079"/>
                      </a:lnTo>
                      <a:lnTo>
                        <a:pt x="1064" y="2121"/>
                      </a:lnTo>
                      <a:lnTo>
                        <a:pt x="1078" y="2148"/>
                      </a:lnTo>
                      <a:lnTo>
                        <a:pt x="1097" y="2184"/>
                      </a:lnTo>
                      <a:lnTo>
                        <a:pt x="1126" y="2193"/>
                      </a:lnTo>
                      <a:lnTo>
                        <a:pt x="1089" y="2221"/>
                      </a:lnTo>
                      <a:lnTo>
                        <a:pt x="1065" y="2194"/>
                      </a:lnTo>
                      <a:lnTo>
                        <a:pt x="1040" y="2300"/>
                      </a:lnTo>
                      <a:lnTo>
                        <a:pt x="1070" y="2328"/>
                      </a:lnTo>
                      <a:lnTo>
                        <a:pt x="1095" y="2431"/>
                      </a:lnTo>
                      <a:lnTo>
                        <a:pt x="1071" y="2412"/>
                      </a:lnTo>
                      <a:lnTo>
                        <a:pt x="1047" y="2401"/>
                      </a:lnTo>
                      <a:lnTo>
                        <a:pt x="1015" y="2396"/>
                      </a:lnTo>
                      <a:lnTo>
                        <a:pt x="993" y="2384"/>
                      </a:lnTo>
                      <a:lnTo>
                        <a:pt x="973" y="2381"/>
                      </a:lnTo>
                      <a:lnTo>
                        <a:pt x="958" y="2345"/>
                      </a:lnTo>
                      <a:lnTo>
                        <a:pt x="918" y="2366"/>
                      </a:lnTo>
                      <a:lnTo>
                        <a:pt x="883" y="2365"/>
                      </a:lnTo>
                      <a:lnTo>
                        <a:pt x="856" y="2334"/>
                      </a:lnTo>
                      <a:lnTo>
                        <a:pt x="796" y="2303"/>
                      </a:lnTo>
                      <a:lnTo>
                        <a:pt x="737" y="2309"/>
                      </a:lnTo>
                      <a:lnTo>
                        <a:pt x="671" y="2258"/>
                      </a:lnTo>
                      <a:lnTo>
                        <a:pt x="722" y="2212"/>
                      </a:lnTo>
                      <a:lnTo>
                        <a:pt x="727" y="2170"/>
                      </a:lnTo>
                      <a:lnTo>
                        <a:pt x="726" y="2131"/>
                      </a:lnTo>
                      <a:lnTo>
                        <a:pt x="733" y="2098"/>
                      </a:lnTo>
                      <a:lnTo>
                        <a:pt x="765" y="2088"/>
                      </a:lnTo>
                      <a:lnTo>
                        <a:pt x="745" y="2027"/>
                      </a:lnTo>
                      <a:lnTo>
                        <a:pt x="708" y="2010"/>
                      </a:lnTo>
                      <a:lnTo>
                        <a:pt x="688" y="2000"/>
                      </a:lnTo>
                      <a:lnTo>
                        <a:pt x="660" y="2009"/>
                      </a:lnTo>
                      <a:lnTo>
                        <a:pt x="605" y="1992"/>
                      </a:lnTo>
                      <a:lnTo>
                        <a:pt x="562" y="1931"/>
                      </a:lnTo>
                      <a:lnTo>
                        <a:pt x="524" y="1913"/>
                      </a:lnTo>
                      <a:lnTo>
                        <a:pt x="505" y="1858"/>
                      </a:lnTo>
                      <a:lnTo>
                        <a:pt x="475" y="1851"/>
                      </a:lnTo>
                      <a:lnTo>
                        <a:pt x="444" y="1870"/>
                      </a:lnTo>
                      <a:lnTo>
                        <a:pt x="423" y="1881"/>
                      </a:lnTo>
                      <a:lnTo>
                        <a:pt x="412" y="1856"/>
                      </a:lnTo>
                      <a:lnTo>
                        <a:pt x="399" y="1831"/>
                      </a:lnTo>
                      <a:lnTo>
                        <a:pt x="441" y="1825"/>
                      </a:lnTo>
                      <a:lnTo>
                        <a:pt x="439" y="1810"/>
                      </a:lnTo>
                      <a:lnTo>
                        <a:pt x="429" y="1797"/>
                      </a:lnTo>
                      <a:lnTo>
                        <a:pt x="412" y="1785"/>
                      </a:lnTo>
                      <a:lnTo>
                        <a:pt x="391" y="1718"/>
                      </a:lnTo>
                      <a:lnTo>
                        <a:pt x="355" y="1686"/>
                      </a:lnTo>
                      <a:lnTo>
                        <a:pt x="322" y="1684"/>
                      </a:lnTo>
                      <a:lnTo>
                        <a:pt x="287" y="1684"/>
                      </a:lnTo>
                      <a:lnTo>
                        <a:pt x="265" y="1664"/>
                      </a:lnTo>
                      <a:lnTo>
                        <a:pt x="241" y="1660"/>
                      </a:lnTo>
                      <a:lnTo>
                        <a:pt x="222" y="1660"/>
                      </a:lnTo>
                      <a:lnTo>
                        <a:pt x="210" y="1678"/>
                      </a:lnTo>
                      <a:lnTo>
                        <a:pt x="186" y="1703"/>
                      </a:lnTo>
                      <a:lnTo>
                        <a:pt x="181" y="1730"/>
                      </a:lnTo>
                      <a:lnTo>
                        <a:pt x="173" y="1739"/>
                      </a:lnTo>
                      <a:lnTo>
                        <a:pt x="159" y="1783"/>
                      </a:lnTo>
                      <a:lnTo>
                        <a:pt x="150" y="1768"/>
                      </a:lnTo>
                      <a:lnTo>
                        <a:pt x="145" y="1752"/>
                      </a:lnTo>
                      <a:lnTo>
                        <a:pt x="0" y="172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" name="Freeform 396"/>
                <p:cNvSpPr/>
                <p:nvPr/>
              </p:nvSpPr>
              <p:spPr bwMode="auto">
                <a:xfrm>
                  <a:off x="2104599" y="1802816"/>
                  <a:ext cx="90975" cy="44553"/>
                </a:xfrm>
                <a:custGeom>
                  <a:avLst/>
                  <a:gdLst>
                    <a:gd name="T0" fmla="*/ 0 w 190"/>
                    <a:gd name="T1" fmla="*/ 2 h 94"/>
                    <a:gd name="T2" fmla="*/ 1 w 190"/>
                    <a:gd name="T3" fmla="*/ 1 h 94"/>
                    <a:gd name="T4" fmla="*/ 0 w 190"/>
                    <a:gd name="T5" fmla="*/ 1 h 94"/>
                    <a:gd name="T6" fmla="*/ 3 w 190"/>
                    <a:gd name="T7" fmla="*/ 0 h 94"/>
                    <a:gd name="T8" fmla="*/ 4 w 190"/>
                    <a:gd name="T9" fmla="*/ 0 h 94"/>
                    <a:gd name="T10" fmla="*/ 3 w 190"/>
                    <a:gd name="T11" fmla="*/ 1 h 94"/>
                    <a:gd name="T12" fmla="*/ 4 w 190"/>
                    <a:gd name="T13" fmla="*/ 1 h 94"/>
                    <a:gd name="T14" fmla="*/ 1 w 190"/>
                    <a:gd name="T15" fmla="*/ 2 h 94"/>
                    <a:gd name="T16" fmla="*/ 1 w 190"/>
                    <a:gd name="T17" fmla="*/ 2 h 94"/>
                    <a:gd name="T18" fmla="*/ 1 w 190"/>
                    <a:gd name="T19" fmla="*/ 2 h 94"/>
                    <a:gd name="T20" fmla="*/ 0 w 190"/>
                    <a:gd name="T21" fmla="*/ 2 h 9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90"/>
                    <a:gd name="T34" fmla="*/ 0 h 94"/>
                    <a:gd name="T35" fmla="*/ 190 w 190"/>
                    <a:gd name="T36" fmla="*/ 94 h 9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90" h="94">
                      <a:moveTo>
                        <a:pt x="0" y="67"/>
                      </a:moveTo>
                      <a:lnTo>
                        <a:pt x="39" y="46"/>
                      </a:lnTo>
                      <a:lnTo>
                        <a:pt x="11" y="27"/>
                      </a:lnTo>
                      <a:lnTo>
                        <a:pt x="146" y="0"/>
                      </a:lnTo>
                      <a:lnTo>
                        <a:pt x="168" y="1"/>
                      </a:lnTo>
                      <a:lnTo>
                        <a:pt x="142" y="25"/>
                      </a:lnTo>
                      <a:lnTo>
                        <a:pt x="190" y="23"/>
                      </a:lnTo>
                      <a:lnTo>
                        <a:pt x="66" y="79"/>
                      </a:lnTo>
                      <a:lnTo>
                        <a:pt x="39" y="94"/>
                      </a:lnTo>
                      <a:lnTo>
                        <a:pt x="45" y="71"/>
                      </a:lnTo>
                      <a:lnTo>
                        <a:pt x="0" y="6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4" name="Freeform 397"/>
                <p:cNvSpPr/>
                <p:nvPr/>
              </p:nvSpPr>
              <p:spPr bwMode="auto">
                <a:xfrm>
                  <a:off x="2131554" y="2265849"/>
                  <a:ext cx="37064" cy="22276"/>
                </a:xfrm>
                <a:custGeom>
                  <a:avLst/>
                  <a:gdLst>
                    <a:gd name="T0" fmla="*/ 0 w 75"/>
                    <a:gd name="T1" fmla="*/ 1 h 49"/>
                    <a:gd name="T2" fmla="*/ 1 w 75"/>
                    <a:gd name="T3" fmla="*/ 0 h 49"/>
                    <a:gd name="T4" fmla="*/ 2 w 75"/>
                    <a:gd name="T5" fmla="*/ 1 h 49"/>
                    <a:gd name="T6" fmla="*/ 0 w 75"/>
                    <a:gd name="T7" fmla="*/ 1 h 4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5"/>
                    <a:gd name="T13" fmla="*/ 0 h 49"/>
                    <a:gd name="T14" fmla="*/ 75 w 75"/>
                    <a:gd name="T15" fmla="*/ 49 h 4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5" h="49">
                      <a:moveTo>
                        <a:pt x="0" y="49"/>
                      </a:moveTo>
                      <a:lnTo>
                        <a:pt x="22" y="0"/>
                      </a:lnTo>
                      <a:lnTo>
                        <a:pt x="75" y="27"/>
                      </a:lnTo>
                      <a:lnTo>
                        <a:pt x="0" y="4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5" name="Freeform 398"/>
                <p:cNvSpPr/>
                <p:nvPr/>
              </p:nvSpPr>
              <p:spPr bwMode="auto">
                <a:xfrm>
                  <a:off x="2195574" y="2127417"/>
                  <a:ext cx="111192" cy="92288"/>
                </a:xfrm>
                <a:custGeom>
                  <a:avLst/>
                  <a:gdLst>
                    <a:gd name="T0" fmla="*/ 0 w 229"/>
                    <a:gd name="T1" fmla="*/ 2 h 204"/>
                    <a:gd name="T2" fmla="*/ 0 w 229"/>
                    <a:gd name="T3" fmla="*/ 3 h 204"/>
                    <a:gd name="T4" fmla="*/ 1 w 229"/>
                    <a:gd name="T5" fmla="*/ 3 h 204"/>
                    <a:gd name="T6" fmla="*/ 2 w 229"/>
                    <a:gd name="T7" fmla="*/ 4 h 204"/>
                    <a:gd name="T8" fmla="*/ 2 w 229"/>
                    <a:gd name="T9" fmla="*/ 3 h 204"/>
                    <a:gd name="T10" fmla="*/ 2 w 229"/>
                    <a:gd name="T11" fmla="*/ 5 h 204"/>
                    <a:gd name="T12" fmla="*/ 5 w 229"/>
                    <a:gd name="T13" fmla="*/ 5 h 204"/>
                    <a:gd name="T14" fmla="*/ 4 w 229"/>
                    <a:gd name="T15" fmla="*/ 4 h 204"/>
                    <a:gd name="T16" fmla="*/ 3 w 229"/>
                    <a:gd name="T17" fmla="*/ 3 h 204"/>
                    <a:gd name="T18" fmla="*/ 3 w 229"/>
                    <a:gd name="T19" fmla="*/ 1 h 204"/>
                    <a:gd name="T20" fmla="*/ 5 w 229"/>
                    <a:gd name="T21" fmla="*/ 0 h 204"/>
                    <a:gd name="T22" fmla="*/ 1 w 229"/>
                    <a:gd name="T23" fmla="*/ 0 h 204"/>
                    <a:gd name="T24" fmla="*/ 1 w 229"/>
                    <a:gd name="T25" fmla="*/ 2 h 204"/>
                    <a:gd name="T26" fmla="*/ 0 w 229"/>
                    <a:gd name="T27" fmla="*/ 2 h 204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29"/>
                    <a:gd name="T43" fmla="*/ 0 h 204"/>
                    <a:gd name="T44" fmla="*/ 229 w 229"/>
                    <a:gd name="T45" fmla="*/ 204 h 204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29" h="204">
                      <a:moveTo>
                        <a:pt x="0" y="103"/>
                      </a:moveTo>
                      <a:lnTo>
                        <a:pt x="16" y="146"/>
                      </a:lnTo>
                      <a:lnTo>
                        <a:pt x="41" y="131"/>
                      </a:lnTo>
                      <a:lnTo>
                        <a:pt x="71" y="159"/>
                      </a:lnTo>
                      <a:lnTo>
                        <a:pt x="91" y="146"/>
                      </a:lnTo>
                      <a:lnTo>
                        <a:pt x="82" y="196"/>
                      </a:lnTo>
                      <a:lnTo>
                        <a:pt x="229" y="204"/>
                      </a:lnTo>
                      <a:lnTo>
                        <a:pt x="175" y="167"/>
                      </a:lnTo>
                      <a:lnTo>
                        <a:pt x="147" y="105"/>
                      </a:lnTo>
                      <a:lnTo>
                        <a:pt x="148" y="38"/>
                      </a:lnTo>
                      <a:lnTo>
                        <a:pt x="186" y="0"/>
                      </a:lnTo>
                      <a:lnTo>
                        <a:pt x="57" y="13"/>
                      </a:lnTo>
                      <a:lnTo>
                        <a:pt x="25" y="103"/>
                      </a:lnTo>
                      <a:lnTo>
                        <a:pt x="0" y="10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6" name="Freeform 399"/>
                <p:cNvSpPr/>
                <p:nvPr/>
              </p:nvSpPr>
              <p:spPr bwMode="auto">
                <a:xfrm>
                  <a:off x="2232638" y="1977846"/>
                  <a:ext cx="283034" cy="149571"/>
                </a:xfrm>
                <a:custGeom>
                  <a:avLst/>
                  <a:gdLst>
                    <a:gd name="T0" fmla="*/ 0 w 587"/>
                    <a:gd name="T1" fmla="*/ 7 h 330"/>
                    <a:gd name="T2" fmla="*/ 1 w 587"/>
                    <a:gd name="T3" fmla="*/ 7 h 330"/>
                    <a:gd name="T4" fmla="*/ 0 w 587"/>
                    <a:gd name="T5" fmla="*/ 7 h 330"/>
                    <a:gd name="T6" fmla="*/ 3 w 587"/>
                    <a:gd name="T7" fmla="*/ 8 h 330"/>
                    <a:gd name="T8" fmla="*/ 3 w 587"/>
                    <a:gd name="T9" fmla="*/ 7 h 330"/>
                    <a:gd name="T10" fmla="*/ 3 w 587"/>
                    <a:gd name="T11" fmla="*/ 7 h 330"/>
                    <a:gd name="T12" fmla="*/ 3 w 587"/>
                    <a:gd name="T13" fmla="*/ 7 h 330"/>
                    <a:gd name="T14" fmla="*/ 4 w 587"/>
                    <a:gd name="T15" fmla="*/ 7 h 330"/>
                    <a:gd name="T16" fmla="*/ 3 w 587"/>
                    <a:gd name="T17" fmla="*/ 6 h 330"/>
                    <a:gd name="T18" fmla="*/ 4 w 587"/>
                    <a:gd name="T19" fmla="*/ 6 h 330"/>
                    <a:gd name="T20" fmla="*/ 5 w 587"/>
                    <a:gd name="T21" fmla="*/ 6 h 330"/>
                    <a:gd name="T22" fmla="*/ 4 w 587"/>
                    <a:gd name="T23" fmla="*/ 5 h 330"/>
                    <a:gd name="T24" fmla="*/ 5 w 587"/>
                    <a:gd name="T25" fmla="*/ 5 h 330"/>
                    <a:gd name="T26" fmla="*/ 5 w 587"/>
                    <a:gd name="T27" fmla="*/ 5 h 330"/>
                    <a:gd name="T28" fmla="*/ 6 w 587"/>
                    <a:gd name="T29" fmla="*/ 5 h 330"/>
                    <a:gd name="T30" fmla="*/ 6 w 587"/>
                    <a:gd name="T31" fmla="*/ 4 h 330"/>
                    <a:gd name="T32" fmla="*/ 13 w 587"/>
                    <a:gd name="T33" fmla="*/ 2 h 330"/>
                    <a:gd name="T34" fmla="*/ 14 w 587"/>
                    <a:gd name="T35" fmla="*/ 1 h 330"/>
                    <a:gd name="T36" fmla="*/ 13 w 587"/>
                    <a:gd name="T37" fmla="*/ 0 h 330"/>
                    <a:gd name="T38" fmla="*/ 9 w 587"/>
                    <a:gd name="T39" fmla="*/ 1 h 330"/>
                    <a:gd name="T40" fmla="*/ 7 w 587"/>
                    <a:gd name="T41" fmla="*/ 1 h 330"/>
                    <a:gd name="T42" fmla="*/ 3 w 587"/>
                    <a:gd name="T43" fmla="*/ 4 h 330"/>
                    <a:gd name="T44" fmla="*/ 2 w 587"/>
                    <a:gd name="T45" fmla="*/ 4 h 330"/>
                    <a:gd name="T46" fmla="*/ 2 w 587"/>
                    <a:gd name="T47" fmla="*/ 5 h 330"/>
                    <a:gd name="T48" fmla="*/ 3 w 587"/>
                    <a:gd name="T49" fmla="*/ 5 h 330"/>
                    <a:gd name="T50" fmla="*/ 2 w 587"/>
                    <a:gd name="T51" fmla="*/ 5 h 330"/>
                    <a:gd name="T52" fmla="*/ 2 w 587"/>
                    <a:gd name="T53" fmla="*/ 5 h 330"/>
                    <a:gd name="T54" fmla="*/ 1 w 587"/>
                    <a:gd name="T55" fmla="*/ 6 h 330"/>
                    <a:gd name="T56" fmla="*/ 2 w 587"/>
                    <a:gd name="T57" fmla="*/ 6 h 330"/>
                    <a:gd name="T58" fmla="*/ 0 w 587"/>
                    <a:gd name="T59" fmla="*/ 7 h 330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587"/>
                    <a:gd name="T91" fmla="*/ 0 h 330"/>
                    <a:gd name="T92" fmla="*/ 587 w 587"/>
                    <a:gd name="T93" fmla="*/ 330 h 330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587" h="330">
                      <a:moveTo>
                        <a:pt x="0" y="284"/>
                      </a:moveTo>
                      <a:lnTo>
                        <a:pt x="58" y="293"/>
                      </a:lnTo>
                      <a:lnTo>
                        <a:pt x="18" y="321"/>
                      </a:lnTo>
                      <a:lnTo>
                        <a:pt x="117" y="330"/>
                      </a:lnTo>
                      <a:lnTo>
                        <a:pt x="120" y="293"/>
                      </a:lnTo>
                      <a:lnTo>
                        <a:pt x="149" y="298"/>
                      </a:lnTo>
                      <a:lnTo>
                        <a:pt x="119" y="279"/>
                      </a:lnTo>
                      <a:lnTo>
                        <a:pt x="158" y="286"/>
                      </a:lnTo>
                      <a:lnTo>
                        <a:pt x="149" y="244"/>
                      </a:lnTo>
                      <a:lnTo>
                        <a:pt x="167" y="270"/>
                      </a:lnTo>
                      <a:lnTo>
                        <a:pt x="196" y="245"/>
                      </a:lnTo>
                      <a:lnTo>
                        <a:pt x="177" y="217"/>
                      </a:lnTo>
                      <a:lnTo>
                        <a:pt x="239" y="222"/>
                      </a:lnTo>
                      <a:lnTo>
                        <a:pt x="221" y="205"/>
                      </a:lnTo>
                      <a:lnTo>
                        <a:pt x="249" y="209"/>
                      </a:lnTo>
                      <a:lnTo>
                        <a:pt x="265" y="175"/>
                      </a:lnTo>
                      <a:lnTo>
                        <a:pt x="558" y="71"/>
                      </a:lnTo>
                      <a:lnTo>
                        <a:pt x="587" y="30"/>
                      </a:lnTo>
                      <a:lnTo>
                        <a:pt x="530" y="0"/>
                      </a:lnTo>
                      <a:lnTo>
                        <a:pt x="409" y="67"/>
                      </a:lnTo>
                      <a:lnTo>
                        <a:pt x="282" y="67"/>
                      </a:lnTo>
                      <a:lnTo>
                        <a:pt x="147" y="155"/>
                      </a:lnTo>
                      <a:lnTo>
                        <a:pt x="71" y="165"/>
                      </a:lnTo>
                      <a:lnTo>
                        <a:pt x="76" y="205"/>
                      </a:lnTo>
                      <a:lnTo>
                        <a:pt x="116" y="209"/>
                      </a:lnTo>
                      <a:lnTo>
                        <a:pt x="70" y="210"/>
                      </a:lnTo>
                      <a:lnTo>
                        <a:pt x="91" y="226"/>
                      </a:lnTo>
                      <a:lnTo>
                        <a:pt x="58" y="245"/>
                      </a:lnTo>
                      <a:lnTo>
                        <a:pt x="97" y="263"/>
                      </a:lnTo>
                      <a:lnTo>
                        <a:pt x="0" y="284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7" name="Freeform 400"/>
                <p:cNvSpPr/>
                <p:nvPr/>
              </p:nvSpPr>
              <p:spPr bwMode="auto">
                <a:xfrm>
                  <a:off x="2396056" y="1780540"/>
                  <a:ext cx="53911" cy="30232"/>
                </a:xfrm>
                <a:custGeom>
                  <a:avLst/>
                  <a:gdLst>
                    <a:gd name="T0" fmla="*/ 0 w 115"/>
                    <a:gd name="T1" fmla="*/ 1 h 66"/>
                    <a:gd name="T2" fmla="*/ 1 w 115"/>
                    <a:gd name="T3" fmla="*/ 1 h 66"/>
                    <a:gd name="T4" fmla="*/ 3 w 115"/>
                    <a:gd name="T5" fmla="*/ 1 h 66"/>
                    <a:gd name="T6" fmla="*/ 1 w 115"/>
                    <a:gd name="T7" fmla="*/ 0 h 66"/>
                    <a:gd name="T8" fmla="*/ 0 w 115"/>
                    <a:gd name="T9" fmla="*/ 1 h 6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5"/>
                    <a:gd name="T16" fmla="*/ 0 h 66"/>
                    <a:gd name="T17" fmla="*/ 115 w 115"/>
                    <a:gd name="T18" fmla="*/ 66 h 6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5" h="66">
                      <a:moveTo>
                        <a:pt x="0" y="47"/>
                      </a:moveTo>
                      <a:lnTo>
                        <a:pt x="32" y="66"/>
                      </a:lnTo>
                      <a:lnTo>
                        <a:pt x="115" y="43"/>
                      </a:lnTo>
                      <a:lnTo>
                        <a:pt x="66" y="0"/>
                      </a:lnTo>
                      <a:lnTo>
                        <a:pt x="0" y="4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8" name="Freeform 401"/>
                <p:cNvSpPr/>
                <p:nvPr/>
              </p:nvSpPr>
              <p:spPr bwMode="auto">
                <a:xfrm>
                  <a:off x="2918320" y="1841005"/>
                  <a:ext cx="48857" cy="19094"/>
                </a:xfrm>
                <a:custGeom>
                  <a:avLst/>
                  <a:gdLst>
                    <a:gd name="T0" fmla="*/ 0 w 103"/>
                    <a:gd name="T1" fmla="*/ 0 h 42"/>
                    <a:gd name="T2" fmla="*/ 1 w 103"/>
                    <a:gd name="T3" fmla="*/ 1 h 42"/>
                    <a:gd name="T4" fmla="*/ 1 w 103"/>
                    <a:gd name="T5" fmla="*/ 1 h 42"/>
                    <a:gd name="T6" fmla="*/ 2 w 103"/>
                    <a:gd name="T7" fmla="*/ 1 h 42"/>
                    <a:gd name="T8" fmla="*/ 2 w 103"/>
                    <a:gd name="T9" fmla="*/ 1 h 42"/>
                    <a:gd name="T10" fmla="*/ 0 w 103"/>
                    <a:gd name="T11" fmla="*/ 0 h 4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03"/>
                    <a:gd name="T19" fmla="*/ 0 h 42"/>
                    <a:gd name="T20" fmla="*/ 103 w 103"/>
                    <a:gd name="T21" fmla="*/ 42 h 4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03" h="42">
                      <a:moveTo>
                        <a:pt x="0" y="0"/>
                      </a:moveTo>
                      <a:lnTo>
                        <a:pt x="46" y="34"/>
                      </a:lnTo>
                      <a:lnTo>
                        <a:pt x="31" y="42"/>
                      </a:lnTo>
                      <a:lnTo>
                        <a:pt x="70" y="41"/>
                      </a:lnTo>
                      <a:lnTo>
                        <a:pt x="103" y="2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" name="Freeform 402"/>
                <p:cNvSpPr/>
                <p:nvPr/>
              </p:nvSpPr>
              <p:spPr bwMode="auto">
                <a:xfrm>
                  <a:off x="2928429" y="1786905"/>
                  <a:ext cx="116246" cy="55691"/>
                </a:xfrm>
                <a:custGeom>
                  <a:avLst/>
                  <a:gdLst>
                    <a:gd name="T0" fmla="*/ 0 w 242"/>
                    <a:gd name="T1" fmla="*/ 2 h 123"/>
                    <a:gd name="T2" fmla="*/ 1 w 242"/>
                    <a:gd name="T3" fmla="*/ 1 h 123"/>
                    <a:gd name="T4" fmla="*/ 4 w 242"/>
                    <a:gd name="T5" fmla="*/ 0 h 123"/>
                    <a:gd name="T6" fmla="*/ 6 w 242"/>
                    <a:gd name="T7" fmla="*/ 1 h 123"/>
                    <a:gd name="T8" fmla="*/ 5 w 242"/>
                    <a:gd name="T9" fmla="*/ 2 h 123"/>
                    <a:gd name="T10" fmla="*/ 5 w 242"/>
                    <a:gd name="T11" fmla="*/ 2 h 123"/>
                    <a:gd name="T12" fmla="*/ 2 w 242"/>
                    <a:gd name="T13" fmla="*/ 3 h 123"/>
                    <a:gd name="T14" fmla="*/ 0 w 242"/>
                    <a:gd name="T15" fmla="*/ 2 h 12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42"/>
                    <a:gd name="T25" fmla="*/ 0 h 123"/>
                    <a:gd name="T26" fmla="*/ 242 w 242"/>
                    <a:gd name="T27" fmla="*/ 123 h 12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42" h="123">
                      <a:moveTo>
                        <a:pt x="0" y="100"/>
                      </a:moveTo>
                      <a:lnTo>
                        <a:pt x="65" y="33"/>
                      </a:lnTo>
                      <a:lnTo>
                        <a:pt x="156" y="0"/>
                      </a:lnTo>
                      <a:lnTo>
                        <a:pt x="242" y="59"/>
                      </a:lnTo>
                      <a:lnTo>
                        <a:pt x="212" y="71"/>
                      </a:lnTo>
                      <a:lnTo>
                        <a:pt x="220" y="98"/>
                      </a:lnTo>
                      <a:lnTo>
                        <a:pt x="95" y="123"/>
                      </a:lnTo>
                      <a:lnTo>
                        <a:pt x="0" y="10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0" name="Freeform 403"/>
                <p:cNvSpPr/>
                <p:nvPr/>
              </p:nvSpPr>
              <p:spPr bwMode="auto">
                <a:xfrm>
                  <a:off x="2952015" y="1836231"/>
                  <a:ext cx="131408" cy="63647"/>
                </a:xfrm>
                <a:custGeom>
                  <a:avLst/>
                  <a:gdLst>
                    <a:gd name="T0" fmla="*/ 0 w 274"/>
                    <a:gd name="T1" fmla="*/ 1 h 142"/>
                    <a:gd name="T2" fmla="*/ 1 w 274"/>
                    <a:gd name="T3" fmla="*/ 1 h 142"/>
                    <a:gd name="T4" fmla="*/ 2 w 274"/>
                    <a:gd name="T5" fmla="*/ 3 h 142"/>
                    <a:gd name="T6" fmla="*/ 3 w 274"/>
                    <a:gd name="T7" fmla="*/ 2 h 142"/>
                    <a:gd name="T8" fmla="*/ 5 w 274"/>
                    <a:gd name="T9" fmla="*/ 3 h 142"/>
                    <a:gd name="T10" fmla="*/ 6 w 274"/>
                    <a:gd name="T11" fmla="*/ 3 h 142"/>
                    <a:gd name="T12" fmla="*/ 5 w 274"/>
                    <a:gd name="T13" fmla="*/ 2 h 142"/>
                    <a:gd name="T14" fmla="*/ 6 w 274"/>
                    <a:gd name="T15" fmla="*/ 2 h 142"/>
                    <a:gd name="T16" fmla="*/ 6 w 274"/>
                    <a:gd name="T17" fmla="*/ 1 h 142"/>
                    <a:gd name="T18" fmla="*/ 5 w 274"/>
                    <a:gd name="T19" fmla="*/ 0 h 142"/>
                    <a:gd name="T20" fmla="*/ 4 w 274"/>
                    <a:gd name="T21" fmla="*/ 1 h 142"/>
                    <a:gd name="T22" fmla="*/ 5 w 274"/>
                    <a:gd name="T23" fmla="*/ 1 h 142"/>
                    <a:gd name="T24" fmla="*/ 4 w 274"/>
                    <a:gd name="T25" fmla="*/ 0 h 142"/>
                    <a:gd name="T26" fmla="*/ 2 w 274"/>
                    <a:gd name="T27" fmla="*/ 0 h 142"/>
                    <a:gd name="T28" fmla="*/ 0 w 274"/>
                    <a:gd name="T29" fmla="*/ 1 h 142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74"/>
                    <a:gd name="T46" fmla="*/ 0 h 142"/>
                    <a:gd name="T47" fmla="*/ 274 w 274"/>
                    <a:gd name="T48" fmla="*/ 142 h 142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74" h="142">
                      <a:moveTo>
                        <a:pt x="0" y="61"/>
                      </a:moveTo>
                      <a:lnTo>
                        <a:pt x="50" y="68"/>
                      </a:lnTo>
                      <a:lnTo>
                        <a:pt x="85" y="118"/>
                      </a:lnTo>
                      <a:lnTo>
                        <a:pt x="114" y="103"/>
                      </a:lnTo>
                      <a:lnTo>
                        <a:pt x="225" y="142"/>
                      </a:lnTo>
                      <a:lnTo>
                        <a:pt x="264" y="126"/>
                      </a:lnTo>
                      <a:lnTo>
                        <a:pt x="235" y="88"/>
                      </a:lnTo>
                      <a:lnTo>
                        <a:pt x="258" y="98"/>
                      </a:lnTo>
                      <a:lnTo>
                        <a:pt x="274" y="39"/>
                      </a:lnTo>
                      <a:lnTo>
                        <a:pt x="215" y="12"/>
                      </a:lnTo>
                      <a:lnTo>
                        <a:pt x="156" y="52"/>
                      </a:lnTo>
                      <a:lnTo>
                        <a:pt x="203" y="31"/>
                      </a:lnTo>
                      <a:lnTo>
                        <a:pt x="173" y="0"/>
                      </a:lnTo>
                      <a:lnTo>
                        <a:pt x="79" y="11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1" name="Freeform 404"/>
                <p:cNvSpPr/>
                <p:nvPr/>
              </p:nvSpPr>
              <p:spPr bwMode="auto">
                <a:xfrm>
                  <a:off x="3075000" y="1868055"/>
                  <a:ext cx="109507" cy="66829"/>
                </a:xfrm>
                <a:custGeom>
                  <a:avLst/>
                  <a:gdLst>
                    <a:gd name="T0" fmla="*/ 0 w 226"/>
                    <a:gd name="T1" fmla="*/ 3 h 145"/>
                    <a:gd name="T2" fmla="*/ 0 w 226"/>
                    <a:gd name="T3" fmla="*/ 3 h 145"/>
                    <a:gd name="T4" fmla="*/ 5 w 226"/>
                    <a:gd name="T5" fmla="*/ 3 h 145"/>
                    <a:gd name="T6" fmla="*/ 5 w 226"/>
                    <a:gd name="T7" fmla="*/ 2 h 145"/>
                    <a:gd name="T8" fmla="*/ 4 w 226"/>
                    <a:gd name="T9" fmla="*/ 1 h 145"/>
                    <a:gd name="T10" fmla="*/ 3 w 226"/>
                    <a:gd name="T11" fmla="*/ 1 h 145"/>
                    <a:gd name="T12" fmla="*/ 3 w 226"/>
                    <a:gd name="T13" fmla="*/ 0 h 145"/>
                    <a:gd name="T14" fmla="*/ 3 w 226"/>
                    <a:gd name="T15" fmla="*/ 0 h 145"/>
                    <a:gd name="T16" fmla="*/ 1 w 226"/>
                    <a:gd name="T17" fmla="*/ 3 h 145"/>
                    <a:gd name="T18" fmla="*/ 0 w 226"/>
                    <a:gd name="T19" fmla="*/ 3 h 14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26"/>
                    <a:gd name="T31" fmla="*/ 0 h 145"/>
                    <a:gd name="T32" fmla="*/ 226 w 226"/>
                    <a:gd name="T33" fmla="*/ 145 h 14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26" h="145">
                      <a:moveTo>
                        <a:pt x="0" y="125"/>
                      </a:moveTo>
                      <a:lnTo>
                        <a:pt x="17" y="145"/>
                      </a:lnTo>
                      <a:lnTo>
                        <a:pt x="209" y="117"/>
                      </a:lnTo>
                      <a:lnTo>
                        <a:pt x="226" y="69"/>
                      </a:lnTo>
                      <a:lnTo>
                        <a:pt x="172" y="30"/>
                      </a:lnTo>
                      <a:lnTo>
                        <a:pt x="126" y="45"/>
                      </a:lnTo>
                      <a:lnTo>
                        <a:pt x="134" y="12"/>
                      </a:lnTo>
                      <a:lnTo>
                        <a:pt x="110" y="0"/>
                      </a:lnTo>
                      <a:lnTo>
                        <a:pt x="20" y="108"/>
                      </a:lnTo>
                      <a:lnTo>
                        <a:pt x="0" y="12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2" name="Freeform 405"/>
                <p:cNvSpPr/>
                <p:nvPr/>
              </p:nvSpPr>
              <p:spPr bwMode="auto">
                <a:xfrm>
                  <a:off x="3753943" y="2008078"/>
                  <a:ext cx="124670" cy="63647"/>
                </a:xfrm>
                <a:custGeom>
                  <a:avLst/>
                  <a:gdLst>
                    <a:gd name="T0" fmla="*/ 0 w 258"/>
                    <a:gd name="T1" fmla="*/ 2 h 136"/>
                    <a:gd name="T2" fmla="*/ 1 w 258"/>
                    <a:gd name="T3" fmla="*/ 0 h 136"/>
                    <a:gd name="T4" fmla="*/ 2 w 258"/>
                    <a:gd name="T5" fmla="*/ 0 h 136"/>
                    <a:gd name="T6" fmla="*/ 3 w 258"/>
                    <a:gd name="T7" fmla="*/ 1 h 136"/>
                    <a:gd name="T8" fmla="*/ 4 w 258"/>
                    <a:gd name="T9" fmla="*/ 0 h 136"/>
                    <a:gd name="T10" fmla="*/ 5 w 258"/>
                    <a:gd name="T11" fmla="*/ 1 h 136"/>
                    <a:gd name="T12" fmla="*/ 5 w 258"/>
                    <a:gd name="T13" fmla="*/ 2 h 136"/>
                    <a:gd name="T14" fmla="*/ 6 w 258"/>
                    <a:gd name="T15" fmla="*/ 3 h 136"/>
                    <a:gd name="T16" fmla="*/ 3 w 258"/>
                    <a:gd name="T17" fmla="*/ 3 h 136"/>
                    <a:gd name="T18" fmla="*/ 3 w 258"/>
                    <a:gd name="T19" fmla="*/ 3 h 136"/>
                    <a:gd name="T20" fmla="*/ 2 w 258"/>
                    <a:gd name="T21" fmla="*/ 4 h 136"/>
                    <a:gd name="T22" fmla="*/ 0 w 258"/>
                    <a:gd name="T23" fmla="*/ 2 h 1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58"/>
                    <a:gd name="T37" fmla="*/ 0 h 136"/>
                    <a:gd name="T38" fmla="*/ 258 w 258"/>
                    <a:gd name="T39" fmla="*/ 136 h 1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58" h="136">
                      <a:moveTo>
                        <a:pt x="0" y="73"/>
                      </a:moveTo>
                      <a:lnTo>
                        <a:pt x="53" y="5"/>
                      </a:lnTo>
                      <a:lnTo>
                        <a:pt x="88" y="0"/>
                      </a:lnTo>
                      <a:lnTo>
                        <a:pt x="147" y="50"/>
                      </a:lnTo>
                      <a:lnTo>
                        <a:pt x="157" y="13"/>
                      </a:lnTo>
                      <a:lnTo>
                        <a:pt x="220" y="44"/>
                      </a:lnTo>
                      <a:lnTo>
                        <a:pt x="216" y="93"/>
                      </a:lnTo>
                      <a:lnTo>
                        <a:pt x="258" y="112"/>
                      </a:lnTo>
                      <a:lnTo>
                        <a:pt x="123" y="120"/>
                      </a:lnTo>
                      <a:lnTo>
                        <a:pt x="115" y="98"/>
                      </a:lnTo>
                      <a:lnTo>
                        <a:pt x="92" y="136"/>
                      </a:lnTo>
                      <a:lnTo>
                        <a:pt x="0" y="7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Freeform 406"/>
                <p:cNvSpPr/>
                <p:nvPr/>
              </p:nvSpPr>
              <p:spPr bwMode="auto">
                <a:xfrm>
                  <a:off x="3841549" y="2011261"/>
                  <a:ext cx="75813" cy="42962"/>
                </a:xfrm>
                <a:custGeom>
                  <a:avLst/>
                  <a:gdLst>
                    <a:gd name="T0" fmla="*/ 0 w 158"/>
                    <a:gd name="T1" fmla="*/ 0 h 92"/>
                    <a:gd name="T2" fmla="*/ 1 w 158"/>
                    <a:gd name="T3" fmla="*/ 1 h 92"/>
                    <a:gd name="T4" fmla="*/ 1 w 158"/>
                    <a:gd name="T5" fmla="*/ 2 h 92"/>
                    <a:gd name="T6" fmla="*/ 1 w 158"/>
                    <a:gd name="T7" fmla="*/ 2 h 92"/>
                    <a:gd name="T8" fmla="*/ 3 w 158"/>
                    <a:gd name="T9" fmla="*/ 2 h 92"/>
                    <a:gd name="T10" fmla="*/ 4 w 158"/>
                    <a:gd name="T11" fmla="*/ 1 h 92"/>
                    <a:gd name="T12" fmla="*/ 0 w 158"/>
                    <a:gd name="T13" fmla="*/ 0 h 9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58"/>
                    <a:gd name="T22" fmla="*/ 0 h 92"/>
                    <a:gd name="T23" fmla="*/ 158 w 158"/>
                    <a:gd name="T24" fmla="*/ 92 h 9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58" h="92">
                      <a:moveTo>
                        <a:pt x="0" y="0"/>
                      </a:moveTo>
                      <a:lnTo>
                        <a:pt x="50" y="33"/>
                      </a:lnTo>
                      <a:lnTo>
                        <a:pt x="39" y="65"/>
                      </a:lnTo>
                      <a:lnTo>
                        <a:pt x="64" y="92"/>
                      </a:lnTo>
                      <a:lnTo>
                        <a:pt x="110" y="92"/>
                      </a:lnTo>
                      <a:lnTo>
                        <a:pt x="158" y="5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4" name="Freeform 407"/>
                <p:cNvSpPr/>
                <p:nvPr/>
              </p:nvSpPr>
              <p:spPr bwMode="auto">
                <a:xfrm>
                  <a:off x="3849972" y="2732064"/>
                  <a:ext cx="53911" cy="219583"/>
                </a:xfrm>
                <a:custGeom>
                  <a:avLst/>
                  <a:gdLst>
                    <a:gd name="T0" fmla="*/ 0 w 115"/>
                    <a:gd name="T1" fmla="*/ 3 h 483"/>
                    <a:gd name="T2" fmla="*/ 0 w 115"/>
                    <a:gd name="T3" fmla="*/ 4 h 483"/>
                    <a:gd name="T4" fmla="*/ 0 w 115"/>
                    <a:gd name="T5" fmla="*/ 11 h 483"/>
                    <a:gd name="T6" fmla="*/ 1 w 115"/>
                    <a:gd name="T7" fmla="*/ 10 h 483"/>
                    <a:gd name="T8" fmla="*/ 1 w 115"/>
                    <a:gd name="T9" fmla="*/ 11 h 483"/>
                    <a:gd name="T10" fmla="*/ 1 w 115"/>
                    <a:gd name="T11" fmla="*/ 9 h 483"/>
                    <a:gd name="T12" fmla="*/ 1 w 115"/>
                    <a:gd name="T13" fmla="*/ 7 h 483"/>
                    <a:gd name="T14" fmla="*/ 3 w 115"/>
                    <a:gd name="T15" fmla="*/ 8 h 483"/>
                    <a:gd name="T16" fmla="*/ 1 w 115"/>
                    <a:gd name="T17" fmla="*/ 4 h 483"/>
                    <a:gd name="T18" fmla="*/ 1 w 115"/>
                    <a:gd name="T19" fmla="*/ 0 h 483"/>
                    <a:gd name="T20" fmla="*/ 0 w 115"/>
                    <a:gd name="T21" fmla="*/ 3 h 48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15"/>
                    <a:gd name="T34" fmla="*/ 0 h 483"/>
                    <a:gd name="T35" fmla="*/ 115 w 115"/>
                    <a:gd name="T36" fmla="*/ 483 h 483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15" h="483">
                      <a:moveTo>
                        <a:pt x="0" y="123"/>
                      </a:moveTo>
                      <a:lnTo>
                        <a:pt x="19" y="182"/>
                      </a:lnTo>
                      <a:lnTo>
                        <a:pt x="19" y="483"/>
                      </a:lnTo>
                      <a:lnTo>
                        <a:pt x="39" y="446"/>
                      </a:lnTo>
                      <a:lnTo>
                        <a:pt x="70" y="469"/>
                      </a:lnTo>
                      <a:lnTo>
                        <a:pt x="32" y="387"/>
                      </a:lnTo>
                      <a:lnTo>
                        <a:pt x="53" y="304"/>
                      </a:lnTo>
                      <a:lnTo>
                        <a:pt x="115" y="329"/>
                      </a:lnTo>
                      <a:lnTo>
                        <a:pt x="57" y="169"/>
                      </a:lnTo>
                      <a:lnTo>
                        <a:pt x="39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5" name="Freeform 408"/>
                <p:cNvSpPr/>
                <p:nvPr/>
              </p:nvSpPr>
              <p:spPr bwMode="auto">
                <a:xfrm>
                  <a:off x="3932524" y="2035128"/>
                  <a:ext cx="84236" cy="31824"/>
                </a:xfrm>
                <a:custGeom>
                  <a:avLst/>
                  <a:gdLst>
                    <a:gd name="T0" fmla="*/ 0 w 179"/>
                    <a:gd name="T1" fmla="*/ 0 h 70"/>
                    <a:gd name="T2" fmla="*/ 1 w 179"/>
                    <a:gd name="T3" fmla="*/ 1 h 70"/>
                    <a:gd name="T4" fmla="*/ 3 w 179"/>
                    <a:gd name="T5" fmla="*/ 2 h 70"/>
                    <a:gd name="T6" fmla="*/ 4 w 179"/>
                    <a:gd name="T7" fmla="*/ 1 h 70"/>
                    <a:gd name="T8" fmla="*/ 0 w 179"/>
                    <a:gd name="T9" fmla="*/ 0 h 7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9"/>
                    <a:gd name="T16" fmla="*/ 0 h 70"/>
                    <a:gd name="T17" fmla="*/ 179 w 179"/>
                    <a:gd name="T18" fmla="*/ 70 h 7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9" h="70">
                      <a:moveTo>
                        <a:pt x="0" y="0"/>
                      </a:moveTo>
                      <a:lnTo>
                        <a:pt x="31" y="47"/>
                      </a:lnTo>
                      <a:lnTo>
                        <a:pt x="112" y="70"/>
                      </a:lnTo>
                      <a:lnTo>
                        <a:pt x="179" y="5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6" name="Freeform 409"/>
                <p:cNvSpPr/>
                <p:nvPr/>
              </p:nvSpPr>
              <p:spPr bwMode="auto">
                <a:xfrm>
                  <a:off x="1085341" y="3008929"/>
                  <a:ext cx="224068" cy="178212"/>
                </a:xfrm>
                <a:custGeom>
                  <a:avLst/>
                  <a:gdLst>
                    <a:gd name="T0" fmla="*/ 0 w 469"/>
                    <a:gd name="T1" fmla="*/ 1 h 392"/>
                    <a:gd name="T2" fmla="*/ 0 w 469"/>
                    <a:gd name="T3" fmla="*/ 2 h 392"/>
                    <a:gd name="T4" fmla="*/ 3 w 469"/>
                    <a:gd name="T5" fmla="*/ 3 h 392"/>
                    <a:gd name="T6" fmla="*/ 2 w 469"/>
                    <a:gd name="T7" fmla="*/ 5 h 392"/>
                    <a:gd name="T8" fmla="*/ 2 w 469"/>
                    <a:gd name="T9" fmla="*/ 8 h 392"/>
                    <a:gd name="T10" fmla="*/ 3 w 469"/>
                    <a:gd name="T11" fmla="*/ 9 h 392"/>
                    <a:gd name="T12" fmla="*/ 6 w 469"/>
                    <a:gd name="T13" fmla="*/ 8 h 392"/>
                    <a:gd name="T14" fmla="*/ 8 w 469"/>
                    <a:gd name="T15" fmla="*/ 6 h 392"/>
                    <a:gd name="T16" fmla="*/ 8 w 469"/>
                    <a:gd name="T17" fmla="*/ 5 h 392"/>
                    <a:gd name="T18" fmla="*/ 9 w 469"/>
                    <a:gd name="T19" fmla="*/ 3 h 392"/>
                    <a:gd name="T20" fmla="*/ 11 w 469"/>
                    <a:gd name="T21" fmla="*/ 2 h 392"/>
                    <a:gd name="T22" fmla="*/ 11 w 469"/>
                    <a:gd name="T23" fmla="*/ 1 h 392"/>
                    <a:gd name="T24" fmla="*/ 9 w 469"/>
                    <a:gd name="T25" fmla="*/ 1 h 392"/>
                    <a:gd name="T26" fmla="*/ 9 w 469"/>
                    <a:gd name="T27" fmla="*/ 1 h 392"/>
                    <a:gd name="T28" fmla="*/ 6 w 469"/>
                    <a:gd name="T29" fmla="*/ 0 h 392"/>
                    <a:gd name="T30" fmla="*/ 1 w 469"/>
                    <a:gd name="T31" fmla="*/ 0 h 392"/>
                    <a:gd name="T32" fmla="*/ 0 w 469"/>
                    <a:gd name="T33" fmla="*/ 1 h 392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469"/>
                    <a:gd name="T52" fmla="*/ 0 h 392"/>
                    <a:gd name="T53" fmla="*/ 469 w 469"/>
                    <a:gd name="T54" fmla="*/ 392 h 392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469" h="392">
                      <a:moveTo>
                        <a:pt x="0" y="33"/>
                      </a:moveTo>
                      <a:lnTo>
                        <a:pt x="13" y="97"/>
                      </a:lnTo>
                      <a:lnTo>
                        <a:pt x="112" y="106"/>
                      </a:lnTo>
                      <a:lnTo>
                        <a:pt x="70" y="209"/>
                      </a:lnTo>
                      <a:lnTo>
                        <a:pt x="70" y="335"/>
                      </a:lnTo>
                      <a:lnTo>
                        <a:pt x="138" y="392"/>
                      </a:lnTo>
                      <a:lnTo>
                        <a:pt x="275" y="355"/>
                      </a:lnTo>
                      <a:lnTo>
                        <a:pt x="354" y="261"/>
                      </a:lnTo>
                      <a:lnTo>
                        <a:pt x="338" y="223"/>
                      </a:lnTo>
                      <a:lnTo>
                        <a:pt x="379" y="152"/>
                      </a:lnTo>
                      <a:lnTo>
                        <a:pt x="468" y="98"/>
                      </a:lnTo>
                      <a:lnTo>
                        <a:pt x="469" y="67"/>
                      </a:lnTo>
                      <a:lnTo>
                        <a:pt x="412" y="60"/>
                      </a:lnTo>
                      <a:lnTo>
                        <a:pt x="400" y="55"/>
                      </a:lnTo>
                      <a:lnTo>
                        <a:pt x="279" y="13"/>
                      </a:lnTo>
                      <a:lnTo>
                        <a:pt x="39" y="0"/>
                      </a:lnTo>
                      <a:lnTo>
                        <a:pt x="0" y="3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7" name="Freeform 410"/>
                <p:cNvSpPr/>
                <p:nvPr/>
              </p:nvSpPr>
              <p:spPr bwMode="auto">
                <a:xfrm>
                  <a:off x="1447557" y="1841005"/>
                  <a:ext cx="193743" cy="151162"/>
                </a:xfrm>
                <a:custGeom>
                  <a:avLst/>
                  <a:gdLst>
                    <a:gd name="T0" fmla="*/ 0 w 404"/>
                    <a:gd name="T1" fmla="*/ 1 h 334"/>
                    <a:gd name="T2" fmla="*/ 0 w 404"/>
                    <a:gd name="T3" fmla="*/ 2 h 334"/>
                    <a:gd name="T4" fmla="*/ 1 w 404"/>
                    <a:gd name="T5" fmla="*/ 2 h 334"/>
                    <a:gd name="T6" fmla="*/ 1 w 404"/>
                    <a:gd name="T7" fmla="*/ 2 h 334"/>
                    <a:gd name="T8" fmla="*/ 1 w 404"/>
                    <a:gd name="T9" fmla="*/ 3 h 334"/>
                    <a:gd name="T10" fmla="*/ 0 w 404"/>
                    <a:gd name="T11" fmla="*/ 3 h 334"/>
                    <a:gd name="T12" fmla="*/ 2 w 404"/>
                    <a:gd name="T13" fmla="*/ 3 h 334"/>
                    <a:gd name="T14" fmla="*/ 1 w 404"/>
                    <a:gd name="T15" fmla="*/ 4 h 334"/>
                    <a:gd name="T16" fmla="*/ 2 w 404"/>
                    <a:gd name="T17" fmla="*/ 4 h 334"/>
                    <a:gd name="T18" fmla="*/ 3 w 404"/>
                    <a:gd name="T19" fmla="*/ 4 h 334"/>
                    <a:gd name="T20" fmla="*/ 3 w 404"/>
                    <a:gd name="T21" fmla="*/ 3 h 334"/>
                    <a:gd name="T22" fmla="*/ 4 w 404"/>
                    <a:gd name="T23" fmla="*/ 3 h 334"/>
                    <a:gd name="T24" fmla="*/ 4 w 404"/>
                    <a:gd name="T25" fmla="*/ 4 h 334"/>
                    <a:gd name="T26" fmla="*/ 5 w 404"/>
                    <a:gd name="T27" fmla="*/ 3 h 334"/>
                    <a:gd name="T28" fmla="*/ 5 w 404"/>
                    <a:gd name="T29" fmla="*/ 4 h 334"/>
                    <a:gd name="T30" fmla="*/ 6 w 404"/>
                    <a:gd name="T31" fmla="*/ 4 h 334"/>
                    <a:gd name="T32" fmla="*/ 3 w 404"/>
                    <a:gd name="T33" fmla="*/ 5 h 334"/>
                    <a:gd name="T34" fmla="*/ 3 w 404"/>
                    <a:gd name="T35" fmla="*/ 5 h 334"/>
                    <a:gd name="T36" fmla="*/ 5 w 404"/>
                    <a:gd name="T37" fmla="*/ 5 h 334"/>
                    <a:gd name="T38" fmla="*/ 4 w 404"/>
                    <a:gd name="T39" fmla="*/ 5 h 334"/>
                    <a:gd name="T40" fmla="*/ 5 w 404"/>
                    <a:gd name="T41" fmla="*/ 6 h 334"/>
                    <a:gd name="T42" fmla="*/ 3 w 404"/>
                    <a:gd name="T43" fmla="*/ 6 h 334"/>
                    <a:gd name="T44" fmla="*/ 5 w 404"/>
                    <a:gd name="T45" fmla="*/ 8 h 334"/>
                    <a:gd name="T46" fmla="*/ 7 w 404"/>
                    <a:gd name="T47" fmla="*/ 4 h 334"/>
                    <a:gd name="T48" fmla="*/ 9 w 404"/>
                    <a:gd name="T49" fmla="*/ 3 h 334"/>
                    <a:gd name="T50" fmla="*/ 7 w 404"/>
                    <a:gd name="T51" fmla="*/ 2 h 334"/>
                    <a:gd name="T52" fmla="*/ 7 w 404"/>
                    <a:gd name="T53" fmla="*/ 1 h 334"/>
                    <a:gd name="T54" fmla="*/ 6 w 404"/>
                    <a:gd name="T55" fmla="*/ 2 h 334"/>
                    <a:gd name="T56" fmla="*/ 6 w 404"/>
                    <a:gd name="T57" fmla="*/ 1 h 334"/>
                    <a:gd name="T58" fmla="*/ 5 w 404"/>
                    <a:gd name="T59" fmla="*/ 0 h 334"/>
                    <a:gd name="T60" fmla="*/ 4 w 404"/>
                    <a:gd name="T61" fmla="*/ 1 h 334"/>
                    <a:gd name="T62" fmla="*/ 5 w 404"/>
                    <a:gd name="T63" fmla="*/ 3 h 334"/>
                    <a:gd name="T64" fmla="*/ 3 w 404"/>
                    <a:gd name="T65" fmla="*/ 1 h 334"/>
                    <a:gd name="T66" fmla="*/ 3 w 404"/>
                    <a:gd name="T67" fmla="*/ 1 h 334"/>
                    <a:gd name="T68" fmla="*/ 3 w 404"/>
                    <a:gd name="T69" fmla="*/ 2 h 334"/>
                    <a:gd name="T70" fmla="*/ 1 w 404"/>
                    <a:gd name="T71" fmla="*/ 1 h 334"/>
                    <a:gd name="T72" fmla="*/ 3 w 404"/>
                    <a:gd name="T73" fmla="*/ 1 h 334"/>
                    <a:gd name="T74" fmla="*/ 0 w 404"/>
                    <a:gd name="T75" fmla="*/ 1 h 334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w 404"/>
                    <a:gd name="T115" fmla="*/ 0 h 334"/>
                    <a:gd name="T116" fmla="*/ 404 w 404"/>
                    <a:gd name="T117" fmla="*/ 334 h 334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T114" t="T115" r="T116" b="T117"/>
                  <a:pathLst>
                    <a:path w="404" h="334">
                      <a:moveTo>
                        <a:pt x="0" y="41"/>
                      </a:moveTo>
                      <a:lnTo>
                        <a:pt x="2" y="81"/>
                      </a:lnTo>
                      <a:lnTo>
                        <a:pt x="43" y="81"/>
                      </a:lnTo>
                      <a:lnTo>
                        <a:pt x="30" y="100"/>
                      </a:lnTo>
                      <a:lnTo>
                        <a:pt x="64" y="115"/>
                      </a:lnTo>
                      <a:lnTo>
                        <a:pt x="19" y="112"/>
                      </a:lnTo>
                      <a:lnTo>
                        <a:pt x="94" y="147"/>
                      </a:lnTo>
                      <a:lnTo>
                        <a:pt x="66" y="160"/>
                      </a:lnTo>
                      <a:lnTo>
                        <a:pt x="86" y="187"/>
                      </a:lnTo>
                      <a:lnTo>
                        <a:pt x="151" y="170"/>
                      </a:lnTo>
                      <a:lnTo>
                        <a:pt x="150" y="135"/>
                      </a:lnTo>
                      <a:lnTo>
                        <a:pt x="176" y="123"/>
                      </a:lnTo>
                      <a:lnTo>
                        <a:pt x="182" y="162"/>
                      </a:lnTo>
                      <a:lnTo>
                        <a:pt x="224" y="135"/>
                      </a:lnTo>
                      <a:lnTo>
                        <a:pt x="215" y="162"/>
                      </a:lnTo>
                      <a:lnTo>
                        <a:pt x="250" y="164"/>
                      </a:lnTo>
                      <a:lnTo>
                        <a:pt x="113" y="203"/>
                      </a:lnTo>
                      <a:lnTo>
                        <a:pt x="118" y="230"/>
                      </a:lnTo>
                      <a:lnTo>
                        <a:pt x="235" y="211"/>
                      </a:lnTo>
                      <a:lnTo>
                        <a:pt x="157" y="237"/>
                      </a:lnTo>
                      <a:lnTo>
                        <a:pt x="201" y="252"/>
                      </a:lnTo>
                      <a:lnTo>
                        <a:pt x="120" y="265"/>
                      </a:lnTo>
                      <a:lnTo>
                        <a:pt x="238" y="334"/>
                      </a:lnTo>
                      <a:lnTo>
                        <a:pt x="314" y="162"/>
                      </a:lnTo>
                      <a:lnTo>
                        <a:pt x="404" y="122"/>
                      </a:lnTo>
                      <a:lnTo>
                        <a:pt x="306" y="92"/>
                      </a:lnTo>
                      <a:lnTo>
                        <a:pt x="291" y="47"/>
                      </a:lnTo>
                      <a:lnTo>
                        <a:pt x="261" y="73"/>
                      </a:lnTo>
                      <a:lnTo>
                        <a:pt x="276" y="34"/>
                      </a:lnTo>
                      <a:lnTo>
                        <a:pt x="208" y="0"/>
                      </a:lnTo>
                      <a:lnTo>
                        <a:pt x="185" y="34"/>
                      </a:lnTo>
                      <a:lnTo>
                        <a:pt x="216" y="115"/>
                      </a:lnTo>
                      <a:lnTo>
                        <a:pt x="143" y="30"/>
                      </a:lnTo>
                      <a:lnTo>
                        <a:pt x="118" y="47"/>
                      </a:lnTo>
                      <a:lnTo>
                        <a:pt x="134" y="89"/>
                      </a:lnTo>
                      <a:lnTo>
                        <a:pt x="62" y="51"/>
                      </a:lnTo>
                      <a:lnTo>
                        <a:pt x="113" y="27"/>
                      </a:lnTo>
                      <a:lnTo>
                        <a:pt x="0" y="4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8" name="Freeform 411"/>
                <p:cNvSpPr/>
                <p:nvPr/>
              </p:nvSpPr>
              <p:spPr bwMode="auto">
                <a:xfrm>
                  <a:off x="1572226" y="1820319"/>
                  <a:ext cx="175211" cy="63647"/>
                </a:xfrm>
                <a:custGeom>
                  <a:avLst/>
                  <a:gdLst>
                    <a:gd name="T0" fmla="*/ 0 w 365"/>
                    <a:gd name="T1" fmla="*/ 1 h 141"/>
                    <a:gd name="T2" fmla="*/ 1 w 365"/>
                    <a:gd name="T3" fmla="*/ 1 h 141"/>
                    <a:gd name="T4" fmla="*/ 0 w 365"/>
                    <a:gd name="T5" fmla="*/ 1 h 141"/>
                    <a:gd name="T6" fmla="*/ 1 w 365"/>
                    <a:gd name="T7" fmla="*/ 2 h 141"/>
                    <a:gd name="T8" fmla="*/ 4 w 365"/>
                    <a:gd name="T9" fmla="*/ 2 h 141"/>
                    <a:gd name="T10" fmla="*/ 2 w 365"/>
                    <a:gd name="T11" fmla="*/ 2 h 141"/>
                    <a:gd name="T12" fmla="*/ 5 w 365"/>
                    <a:gd name="T13" fmla="*/ 3 h 141"/>
                    <a:gd name="T14" fmla="*/ 7 w 365"/>
                    <a:gd name="T15" fmla="*/ 3 h 141"/>
                    <a:gd name="T16" fmla="*/ 9 w 365"/>
                    <a:gd name="T17" fmla="*/ 1 h 141"/>
                    <a:gd name="T18" fmla="*/ 8 w 365"/>
                    <a:gd name="T19" fmla="*/ 1 h 141"/>
                    <a:gd name="T20" fmla="*/ 6 w 365"/>
                    <a:gd name="T21" fmla="*/ 1 h 141"/>
                    <a:gd name="T22" fmla="*/ 7 w 365"/>
                    <a:gd name="T23" fmla="*/ 0 h 141"/>
                    <a:gd name="T24" fmla="*/ 5 w 365"/>
                    <a:gd name="T25" fmla="*/ 1 h 141"/>
                    <a:gd name="T26" fmla="*/ 5 w 365"/>
                    <a:gd name="T27" fmla="*/ 0 h 141"/>
                    <a:gd name="T28" fmla="*/ 4 w 365"/>
                    <a:gd name="T29" fmla="*/ 1 h 141"/>
                    <a:gd name="T30" fmla="*/ 2 w 365"/>
                    <a:gd name="T31" fmla="*/ 0 h 141"/>
                    <a:gd name="T32" fmla="*/ 2 w 365"/>
                    <a:gd name="T33" fmla="*/ 1 h 141"/>
                    <a:gd name="T34" fmla="*/ 1 w 365"/>
                    <a:gd name="T35" fmla="*/ 0 h 141"/>
                    <a:gd name="T36" fmla="*/ 2 w 365"/>
                    <a:gd name="T37" fmla="*/ 1 h 141"/>
                    <a:gd name="T38" fmla="*/ 0 w 365"/>
                    <a:gd name="T39" fmla="*/ 1 h 141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365"/>
                    <a:gd name="T61" fmla="*/ 0 h 141"/>
                    <a:gd name="T62" fmla="*/ 365 w 365"/>
                    <a:gd name="T63" fmla="*/ 141 h 141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365" h="141">
                      <a:moveTo>
                        <a:pt x="0" y="38"/>
                      </a:moveTo>
                      <a:lnTo>
                        <a:pt x="53" y="49"/>
                      </a:lnTo>
                      <a:lnTo>
                        <a:pt x="19" y="66"/>
                      </a:lnTo>
                      <a:lnTo>
                        <a:pt x="33" y="76"/>
                      </a:lnTo>
                      <a:lnTo>
                        <a:pt x="168" y="74"/>
                      </a:lnTo>
                      <a:lnTo>
                        <a:pt x="83" y="96"/>
                      </a:lnTo>
                      <a:lnTo>
                        <a:pt x="219" y="141"/>
                      </a:lnTo>
                      <a:lnTo>
                        <a:pt x="309" y="115"/>
                      </a:lnTo>
                      <a:lnTo>
                        <a:pt x="365" y="66"/>
                      </a:lnTo>
                      <a:lnTo>
                        <a:pt x="351" y="43"/>
                      </a:lnTo>
                      <a:lnTo>
                        <a:pt x="265" y="45"/>
                      </a:lnTo>
                      <a:lnTo>
                        <a:pt x="277" y="19"/>
                      </a:lnTo>
                      <a:lnTo>
                        <a:pt x="209" y="45"/>
                      </a:lnTo>
                      <a:lnTo>
                        <a:pt x="198" y="0"/>
                      </a:lnTo>
                      <a:lnTo>
                        <a:pt x="182" y="57"/>
                      </a:lnTo>
                      <a:lnTo>
                        <a:pt x="83" y="0"/>
                      </a:lnTo>
                      <a:lnTo>
                        <a:pt x="85" y="35"/>
                      </a:lnTo>
                      <a:lnTo>
                        <a:pt x="57" y="19"/>
                      </a:lnTo>
                      <a:lnTo>
                        <a:pt x="69" y="51"/>
                      </a:lnTo>
                      <a:lnTo>
                        <a:pt x="0" y="3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9" name="Freeform 412"/>
                <p:cNvSpPr/>
                <p:nvPr/>
              </p:nvSpPr>
              <p:spPr bwMode="auto">
                <a:xfrm>
                  <a:off x="1632876" y="1923746"/>
                  <a:ext cx="74128" cy="41371"/>
                </a:xfrm>
                <a:custGeom>
                  <a:avLst/>
                  <a:gdLst>
                    <a:gd name="T0" fmla="*/ 0 w 157"/>
                    <a:gd name="T1" fmla="*/ 2 h 92"/>
                    <a:gd name="T2" fmla="*/ 0 w 157"/>
                    <a:gd name="T3" fmla="*/ 1 h 92"/>
                    <a:gd name="T4" fmla="*/ 2 w 157"/>
                    <a:gd name="T5" fmla="*/ 0 h 92"/>
                    <a:gd name="T6" fmla="*/ 2 w 157"/>
                    <a:gd name="T7" fmla="*/ 1 h 92"/>
                    <a:gd name="T8" fmla="*/ 3 w 157"/>
                    <a:gd name="T9" fmla="*/ 1 h 92"/>
                    <a:gd name="T10" fmla="*/ 1 w 157"/>
                    <a:gd name="T11" fmla="*/ 2 h 92"/>
                    <a:gd name="T12" fmla="*/ 2 w 157"/>
                    <a:gd name="T13" fmla="*/ 1 h 92"/>
                    <a:gd name="T14" fmla="*/ 0 w 157"/>
                    <a:gd name="T15" fmla="*/ 2 h 9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57"/>
                    <a:gd name="T25" fmla="*/ 0 h 92"/>
                    <a:gd name="T26" fmla="*/ 157 w 157"/>
                    <a:gd name="T27" fmla="*/ 92 h 9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57" h="92">
                      <a:moveTo>
                        <a:pt x="0" y="73"/>
                      </a:moveTo>
                      <a:lnTo>
                        <a:pt x="14" y="26"/>
                      </a:lnTo>
                      <a:lnTo>
                        <a:pt x="78" y="0"/>
                      </a:lnTo>
                      <a:lnTo>
                        <a:pt x="88" y="26"/>
                      </a:lnTo>
                      <a:lnTo>
                        <a:pt x="157" y="48"/>
                      </a:lnTo>
                      <a:lnTo>
                        <a:pt x="62" y="92"/>
                      </a:lnTo>
                      <a:lnTo>
                        <a:pt x="78" y="68"/>
                      </a:lnTo>
                      <a:lnTo>
                        <a:pt x="0" y="7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0" name="Freeform 413"/>
                <p:cNvSpPr/>
                <p:nvPr/>
              </p:nvSpPr>
              <p:spPr bwMode="auto">
                <a:xfrm>
                  <a:off x="1455980" y="2280170"/>
                  <a:ext cx="235861" cy="423253"/>
                </a:xfrm>
                <a:custGeom>
                  <a:avLst/>
                  <a:gdLst>
                    <a:gd name="T0" fmla="*/ 0 w 492"/>
                    <a:gd name="T1" fmla="*/ 16 h 935"/>
                    <a:gd name="T2" fmla="*/ 0 w 492"/>
                    <a:gd name="T3" fmla="*/ 18 h 935"/>
                    <a:gd name="T4" fmla="*/ 1 w 492"/>
                    <a:gd name="T5" fmla="*/ 20 h 935"/>
                    <a:gd name="T6" fmla="*/ 1 w 492"/>
                    <a:gd name="T7" fmla="*/ 22 h 935"/>
                    <a:gd name="T8" fmla="*/ 4 w 492"/>
                    <a:gd name="T9" fmla="*/ 20 h 935"/>
                    <a:gd name="T10" fmla="*/ 5 w 492"/>
                    <a:gd name="T11" fmla="*/ 17 h 935"/>
                    <a:gd name="T12" fmla="*/ 4 w 492"/>
                    <a:gd name="T13" fmla="*/ 17 h 935"/>
                    <a:gd name="T14" fmla="*/ 6 w 492"/>
                    <a:gd name="T15" fmla="*/ 16 h 935"/>
                    <a:gd name="T16" fmla="*/ 4 w 492"/>
                    <a:gd name="T17" fmla="*/ 16 h 935"/>
                    <a:gd name="T18" fmla="*/ 6 w 492"/>
                    <a:gd name="T19" fmla="*/ 16 h 935"/>
                    <a:gd name="T20" fmla="*/ 7 w 492"/>
                    <a:gd name="T21" fmla="*/ 15 h 935"/>
                    <a:gd name="T22" fmla="*/ 5 w 492"/>
                    <a:gd name="T23" fmla="*/ 14 h 935"/>
                    <a:gd name="T24" fmla="*/ 4 w 492"/>
                    <a:gd name="T25" fmla="*/ 15 h 935"/>
                    <a:gd name="T26" fmla="*/ 5 w 492"/>
                    <a:gd name="T27" fmla="*/ 14 h 935"/>
                    <a:gd name="T28" fmla="*/ 5 w 492"/>
                    <a:gd name="T29" fmla="*/ 11 h 935"/>
                    <a:gd name="T30" fmla="*/ 9 w 492"/>
                    <a:gd name="T31" fmla="*/ 8 h 935"/>
                    <a:gd name="T32" fmla="*/ 9 w 492"/>
                    <a:gd name="T33" fmla="*/ 7 h 935"/>
                    <a:gd name="T34" fmla="*/ 9 w 492"/>
                    <a:gd name="T35" fmla="*/ 6 h 935"/>
                    <a:gd name="T36" fmla="*/ 11 w 492"/>
                    <a:gd name="T37" fmla="*/ 5 h 935"/>
                    <a:gd name="T38" fmla="*/ 11 w 492"/>
                    <a:gd name="T39" fmla="*/ 2 h 935"/>
                    <a:gd name="T40" fmla="*/ 8 w 492"/>
                    <a:gd name="T41" fmla="*/ 0 h 935"/>
                    <a:gd name="T42" fmla="*/ 8 w 492"/>
                    <a:gd name="T43" fmla="*/ 0 h 935"/>
                    <a:gd name="T44" fmla="*/ 8 w 492"/>
                    <a:gd name="T45" fmla="*/ 1 h 935"/>
                    <a:gd name="T46" fmla="*/ 6 w 492"/>
                    <a:gd name="T47" fmla="*/ 1 h 935"/>
                    <a:gd name="T48" fmla="*/ 6 w 492"/>
                    <a:gd name="T49" fmla="*/ 2 h 935"/>
                    <a:gd name="T50" fmla="*/ 5 w 492"/>
                    <a:gd name="T51" fmla="*/ 2 h 935"/>
                    <a:gd name="T52" fmla="*/ 5 w 492"/>
                    <a:gd name="T53" fmla="*/ 3 h 935"/>
                    <a:gd name="T54" fmla="*/ 3 w 492"/>
                    <a:gd name="T55" fmla="*/ 5 h 935"/>
                    <a:gd name="T56" fmla="*/ 2 w 492"/>
                    <a:gd name="T57" fmla="*/ 7 h 935"/>
                    <a:gd name="T58" fmla="*/ 3 w 492"/>
                    <a:gd name="T59" fmla="*/ 9 h 935"/>
                    <a:gd name="T60" fmla="*/ 1 w 492"/>
                    <a:gd name="T61" fmla="*/ 9 h 935"/>
                    <a:gd name="T62" fmla="*/ 1 w 492"/>
                    <a:gd name="T63" fmla="*/ 12 h 935"/>
                    <a:gd name="T64" fmla="*/ 1 w 492"/>
                    <a:gd name="T65" fmla="*/ 13 h 935"/>
                    <a:gd name="T66" fmla="*/ 1 w 492"/>
                    <a:gd name="T67" fmla="*/ 13 h 935"/>
                    <a:gd name="T68" fmla="*/ 1 w 492"/>
                    <a:gd name="T69" fmla="*/ 15 h 935"/>
                    <a:gd name="T70" fmla="*/ 0 w 492"/>
                    <a:gd name="T71" fmla="*/ 16 h 935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492"/>
                    <a:gd name="T109" fmla="*/ 0 h 935"/>
                    <a:gd name="T110" fmla="*/ 492 w 492"/>
                    <a:gd name="T111" fmla="*/ 935 h 935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492" h="935">
                      <a:moveTo>
                        <a:pt x="0" y="704"/>
                      </a:moveTo>
                      <a:lnTo>
                        <a:pt x="19" y="810"/>
                      </a:lnTo>
                      <a:lnTo>
                        <a:pt x="63" y="862"/>
                      </a:lnTo>
                      <a:lnTo>
                        <a:pt x="59" y="935"/>
                      </a:lnTo>
                      <a:lnTo>
                        <a:pt x="179" y="885"/>
                      </a:lnTo>
                      <a:lnTo>
                        <a:pt x="209" y="739"/>
                      </a:lnTo>
                      <a:lnTo>
                        <a:pt x="187" y="732"/>
                      </a:lnTo>
                      <a:lnTo>
                        <a:pt x="275" y="686"/>
                      </a:lnTo>
                      <a:lnTo>
                        <a:pt x="191" y="675"/>
                      </a:lnTo>
                      <a:lnTo>
                        <a:pt x="253" y="686"/>
                      </a:lnTo>
                      <a:lnTo>
                        <a:pt x="290" y="648"/>
                      </a:lnTo>
                      <a:lnTo>
                        <a:pt x="237" y="599"/>
                      </a:lnTo>
                      <a:lnTo>
                        <a:pt x="189" y="633"/>
                      </a:lnTo>
                      <a:lnTo>
                        <a:pt x="227" y="604"/>
                      </a:lnTo>
                      <a:lnTo>
                        <a:pt x="228" y="470"/>
                      </a:lnTo>
                      <a:lnTo>
                        <a:pt x="395" y="341"/>
                      </a:lnTo>
                      <a:lnTo>
                        <a:pt x="383" y="314"/>
                      </a:lnTo>
                      <a:lnTo>
                        <a:pt x="410" y="249"/>
                      </a:lnTo>
                      <a:lnTo>
                        <a:pt x="492" y="230"/>
                      </a:lnTo>
                      <a:lnTo>
                        <a:pt x="470" y="79"/>
                      </a:lnTo>
                      <a:lnTo>
                        <a:pt x="358" y="0"/>
                      </a:lnTo>
                      <a:lnTo>
                        <a:pt x="339" y="0"/>
                      </a:lnTo>
                      <a:lnTo>
                        <a:pt x="338" y="48"/>
                      </a:lnTo>
                      <a:lnTo>
                        <a:pt x="270" y="39"/>
                      </a:lnTo>
                      <a:lnTo>
                        <a:pt x="253" y="79"/>
                      </a:lnTo>
                      <a:lnTo>
                        <a:pt x="208" y="90"/>
                      </a:lnTo>
                      <a:lnTo>
                        <a:pt x="196" y="150"/>
                      </a:lnTo>
                      <a:lnTo>
                        <a:pt x="129" y="222"/>
                      </a:lnTo>
                      <a:lnTo>
                        <a:pt x="97" y="324"/>
                      </a:lnTo>
                      <a:lnTo>
                        <a:pt x="109" y="364"/>
                      </a:lnTo>
                      <a:lnTo>
                        <a:pt x="42" y="394"/>
                      </a:lnTo>
                      <a:lnTo>
                        <a:pt x="35" y="526"/>
                      </a:lnTo>
                      <a:lnTo>
                        <a:pt x="57" y="553"/>
                      </a:lnTo>
                      <a:lnTo>
                        <a:pt x="35" y="578"/>
                      </a:lnTo>
                      <a:lnTo>
                        <a:pt x="46" y="636"/>
                      </a:lnTo>
                      <a:lnTo>
                        <a:pt x="0" y="704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1" name="Freeform 414"/>
                <p:cNvSpPr/>
                <p:nvPr/>
              </p:nvSpPr>
              <p:spPr bwMode="auto">
                <a:xfrm>
                  <a:off x="1359951" y="2908685"/>
                  <a:ext cx="80867" cy="44553"/>
                </a:xfrm>
                <a:custGeom>
                  <a:avLst/>
                  <a:gdLst>
                    <a:gd name="T0" fmla="*/ 0 w 169"/>
                    <a:gd name="T1" fmla="*/ 1 h 98"/>
                    <a:gd name="T2" fmla="*/ 1 w 169"/>
                    <a:gd name="T3" fmla="*/ 2 h 98"/>
                    <a:gd name="T4" fmla="*/ 2 w 169"/>
                    <a:gd name="T5" fmla="*/ 2 h 98"/>
                    <a:gd name="T6" fmla="*/ 3 w 169"/>
                    <a:gd name="T7" fmla="*/ 2 h 98"/>
                    <a:gd name="T8" fmla="*/ 4 w 169"/>
                    <a:gd name="T9" fmla="*/ 1 h 98"/>
                    <a:gd name="T10" fmla="*/ 3 w 169"/>
                    <a:gd name="T11" fmla="*/ 1 h 98"/>
                    <a:gd name="T12" fmla="*/ 3 w 169"/>
                    <a:gd name="T13" fmla="*/ 0 h 98"/>
                    <a:gd name="T14" fmla="*/ 3 w 169"/>
                    <a:gd name="T15" fmla="*/ 0 h 98"/>
                    <a:gd name="T16" fmla="*/ 1 w 169"/>
                    <a:gd name="T17" fmla="*/ 0 h 98"/>
                    <a:gd name="T18" fmla="*/ 0 w 169"/>
                    <a:gd name="T19" fmla="*/ 1 h 9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69"/>
                    <a:gd name="T31" fmla="*/ 0 h 98"/>
                    <a:gd name="T32" fmla="*/ 169 w 169"/>
                    <a:gd name="T33" fmla="*/ 98 h 9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69" h="98">
                      <a:moveTo>
                        <a:pt x="0" y="66"/>
                      </a:moveTo>
                      <a:lnTo>
                        <a:pt x="39" y="98"/>
                      </a:lnTo>
                      <a:lnTo>
                        <a:pt x="92" y="70"/>
                      </a:lnTo>
                      <a:lnTo>
                        <a:pt x="115" y="96"/>
                      </a:lnTo>
                      <a:lnTo>
                        <a:pt x="169" y="44"/>
                      </a:lnTo>
                      <a:lnTo>
                        <a:pt x="136" y="38"/>
                      </a:lnTo>
                      <a:lnTo>
                        <a:pt x="135" y="16"/>
                      </a:lnTo>
                      <a:lnTo>
                        <a:pt x="128" y="9"/>
                      </a:lnTo>
                      <a:lnTo>
                        <a:pt x="54" y="0"/>
                      </a:lnTo>
                      <a:lnTo>
                        <a:pt x="0" y="6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2" name="Freeform 415"/>
                <p:cNvSpPr/>
                <p:nvPr/>
              </p:nvSpPr>
              <p:spPr bwMode="auto">
                <a:xfrm>
                  <a:off x="1900747" y="3161683"/>
                  <a:ext cx="131408" cy="109791"/>
                </a:xfrm>
                <a:custGeom>
                  <a:avLst/>
                  <a:gdLst>
                    <a:gd name="T0" fmla="*/ 0 w 273"/>
                    <a:gd name="T1" fmla="*/ 5 h 244"/>
                    <a:gd name="T2" fmla="*/ 0 w 273"/>
                    <a:gd name="T3" fmla="*/ 5 h 244"/>
                    <a:gd name="T4" fmla="*/ 1 w 273"/>
                    <a:gd name="T5" fmla="*/ 3 h 244"/>
                    <a:gd name="T6" fmla="*/ 1 w 273"/>
                    <a:gd name="T7" fmla="*/ 3 h 244"/>
                    <a:gd name="T8" fmla="*/ 1 w 273"/>
                    <a:gd name="T9" fmla="*/ 1 h 244"/>
                    <a:gd name="T10" fmla="*/ 1 w 273"/>
                    <a:gd name="T11" fmla="*/ 0 h 244"/>
                    <a:gd name="T12" fmla="*/ 6 w 273"/>
                    <a:gd name="T13" fmla="*/ 0 h 244"/>
                    <a:gd name="T14" fmla="*/ 5 w 273"/>
                    <a:gd name="T15" fmla="*/ 1 h 244"/>
                    <a:gd name="T16" fmla="*/ 5 w 273"/>
                    <a:gd name="T17" fmla="*/ 3 h 244"/>
                    <a:gd name="T18" fmla="*/ 3 w 273"/>
                    <a:gd name="T19" fmla="*/ 4 h 244"/>
                    <a:gd name="T20" fmla="*/ 1 w 273"/>
                    <a:gd name="T21" fmla="*/ 6 h 244"/>
                    <a:gd name="T22" fmla="*/ 0 w 273"/>
                    <a:gd name="T23" fmla="*/ 5 h 244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273"/>
                    <a:gd name="T37" fmla="*/ 0 h 244"/>
                    <a:gd name="T38" fmla="*/ 273 w 273"/>
                    <a:gd name="T39" fmla="*/ 244 h 244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273" h="244">
                      <a:moveTo>
                        <a:pt x="0" y="225"/>
                      </a:moveTo>
                      <a:lnTo>
                        <a:pt x="5" y="199"/>
                      </a:lnTo>
                      <a:lnTo>
                        <a:pt x="43" y="147"/>
                      </a:lnTo>
                      <a:lnTo>
                        <a:pt x="22" y="126"/>
                      </a:lnTo>
                      <a:lnTo>
                        <a:pt x="21" y="64"/>
                      </a:lnTo>
                      <a:lnTo>
                        <a:pt x="43" y="12"/>
                      </a:lnTo>
                      <a:lnTo>
                        <a:pt x="273" y="0"/>
                      </a:lnTo>
                      <a:lnTo>
                        <a:pt x="231" y="37"/>
                      </a:lnTo>
                      <a:lnTo>
                        <a:pt x="215" y="135"/>
                      </a:lnTo>
                      <a:lnTo>
                        <a:pt x="122" y="191"/>
                      </a:lnTo>
                      <a:lnTo>
                        <a:pt x="38" y="244"/>
                      </a:lnTo>
                      <a:lnTo>
                        <a:pt x="0" y="22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3" name="Freeform 416"/>
                <p:cNvSpPr/>
                <p:nvPr/>
              </p:nvSpPr>
              <p:spPr bwMode="auto">
                <a:xfrm>
                  <a:off x="3037936" y="3519698"/>
                  <a:ext cx="146571" cy="307097"/>
                </a:xfrm>
                <a:custGeom>
                  <a:avLst/>
                  <a:gdLst>
                    <a:gd name="T0" fmla="*/ 0 w 303"/>
                    <a:gd name="T1" fmla="*/ 3 h 678"/>
                    <a:gd name="T2" fmla="*/ 1 w 303"/>
                    <a:gd name="T3" fmla="*/ 1 h 678"/>
                    <a:gd name="T4" fmla="*/ 3 w 303"/>
                    <a:gd name="T5" fmla="*/ 0 h 678"/>
                    <a:gd name="T6" fmla="*/ 3 w 303"/>
                    <a:gd name="T7" fmla="*/ 1 h 678"/>
                    <a:gd name="T8" fmla="*/ 3 w 303"/>
                    <a:gd name="T9" fmla="*/ 3 h 678"/>
                    <a:gd name="T10" fmla="*/ 5 w 303"/>
                    <a:gd name="T11" fmla="*/ 3 h 678"/>
                    <a:gd name="T12" fmla="*/ 6 w 303"/>
                    <a:gd name="T13" fmla="*/ 3 h 678"/>
                    <a:gd name="T14" fmla="*/ 7 w 303"/>
                    <a:gd name="T15" fmla="*/ 5 h 678"/>
                    <a:gd name="T16" fmla="*/ 7 w 303"/>
                    <a:gd name="T17" fmla="*/ 7 h 678"/>
                    <a:gd name="T18" fmla="*/ 5 w 303"/>
                    <a:gd name="T19" fmla="*/ 7 h 678"/>
                    <a:gd name="T20" fmla="*/ 5 w 303"/>
                    <a:gd name="T21" fmla="*/ 7 h 678"/>
                    <a:gd name="T22" fmla="*/ 5 w 303"/>
                    <a:gd name="T23" fmla="*/ 9 h 678"/>
                    <a:gd name="T24" fmla="*/ 3 w 303"/>
                    <a:gd name="T25" fmla="*/ 7 h 678"/>
                    <a:gd name="T26" fmla="*/ 1 w 303"/>
                    <a:gd name="T27" fmla="*/ 11 h 678"/>
                    <a:gd name="T28" fmla="*/ 3 w 303"/>
                    <a:gd name="T29" fmla="*/ 14 h 678"/>
                    <a:gd name="T30" fmla="*/ 4 w 303"/>
                    <a:gd name="T31" fmla="*/ 15 h 678"/>
                    <a:gd name="T32" fmla="*/ 3 w 303"/>
                    <a:gd name="T33" fmla="*/ 16 h 678"/>
                    <a:gd name="T34" fmla="*/ 3 w 303"/>
                    <a:gd name="T35" fmla="*/ 15 h 678"/>
                    <a:gd name="T36" fmla="*/ 3 w 303"/>
                    <a:gd name="T37" fmla="*/ 15 h 678"/>
                    <a:gd name="T38" fmla="*/ 1 w 303"/>
                    <a:gd name="T39" fmla="*/ 13 h 678"/>
                    <a:gd name="T40" fmla="*/ 1 w 303"/>
                    <a:gd name="T41" fmla="*/ 11 h 678"/>
                    <a:gd name="T42" fmla="*/ 2 w 303"/>
                    <a:gd name="T43" fmla="*/ 9 h 678"/>
                    <a:gd name="T44" fmla="*/ 1 w 303"/>
                    <a:gd name="T45" fmla="*/ 6 h 678"/>
                    <a:gd name="T46" fmla="*/ 1 w 303"/>
                    <a:gd name="T47" fmla="*/ 5 h 678"/>
                    <a:gd name="T48" fmla="*/ 0 w 303"/>
                    <a:gd name="T49" fmla="*/ 3 h 67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303"/>
                    <a:gd name="T76" fmla="*/ 0 h 678"/>
                    <a:gd name="T77" fmla="*/ 303 w 303"/>
                    <a:gd name="T78" fmla="*/ 678 h 67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303" h="678">
                      <a:moveTo>
                        <a:pt x="0" y="109"/>
                      </a:moveTo>
                      <a:lnTo>
                        <a:pt x="22" y="56"/>
                      </a:lnTo>
                      <a:lnTo>
                        <a:pt x="105" y="0"/>
                      </a:lnTo>
                      <a:lnTo>
                        <a:pt x="141" y="53"/>
                      </a:lnTo>
                      <a:lnTo>
                        <a:pt x="130" y="144"/>
                      </a:lnTo>
                      <a:lnTo>
                        <a:pt x="228" y="105"/>
                      </a:lnTo>
                      <a:lnTo>
                        <a:pt x="265" y="144"/>
                      </a:lnTo>
                      <a:lnTo>
                        <a:pt x="303" y="234"/>
                      </a:lnTo>
                      <a:lnTo>
                        <a:pt x="293" y="290"/>
                      </a:lnTo>
                      <a:lnTo>
                        <a:pt x="217" y="287"/>
                      </a:lnTo>
                      <a:lnTo>
                        <a:pt x="192" y="311"/>
                      </a:lnTo>
                      <a:lnTo>
                        <a:pt x="204" y="406"/>
                      </a:lnTo>
                      <a:lnTo>
                        <a:pt x="106" y="324"/>
                      </a:lnTo>
                      <a:lnTo>
                        <a:pt x="66" y="472"/>
                      </a:lnTo>
                      <a:lnTo>
                        <a:pt x="113" y="605"/>
                      </a:lnTo>
                      <a:lnTo>
                        <a:pt x="179" y="652"/>
                      </a:lnTo>
                      <a:lnTo>
                        <a:pt x="144" y="678"/>
                      </a:lnTo>
                      <a:lnTo>
                        <a:pt x="135" y="637"/>
                      </a:lnTo>
                      <a:lnTo>
                        <a:pt x="106" y="637"/>
                      </a:lnTo>
                      <a:lnTo>
                        <a:pt x="31" y="562"/>
                      </a:lnTo>
                      <a:lnTo>
                        <a:pt x="43" y="477"/>
                      </a:lnTo>
                      <a:lnTo>
                        <a:pt x="83" y="397"/>
                      </a:lnTo>
                      <a:lnTo>
                        <a:pt x="29" y="267"/>
                      </a:lnTo>
                      <a:lnTo>
                        <a:pt x="45" y="207"/>
                      </a:lnTo>
                      <a:lnTo>
                        <a:pt x="0" y="10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4" name="Freeform 417"/>
                <p:cNvSpPr/>
                <p:nvPr/>
              </p:nvSpPr>
              <p:spPr bwMode="auto">
                <a:xfrm>
                  <a:off x="2185466" y="3405133"/>
                  <a:ext cx="96029" cy="73194"/>
                </a:xfrm>
                <a:custGeom>
                  <a:avLst/>
                  <a:gdLst>
                    <a:gd name="T0" fmla="*/ 0 w 201"/>
                    <a:gd name="T1" fmla="*/ 2 h 159"/>
                    <a:gd name="T2" fmla="*/ 0 w 201"/>
                    <a:gd name="T3" fmla="*/ 2 h 159"/>
                    <a:gd name="T4" fmla="*/ 1 w 201"/>
                    <a:gd name="T5" fmla="*/ 2 h 159"/>
                    <a:gd name="T6" fmla="*/ 3 w 201"/>
                    <a:gd name="T7" fmla="*/ 2 h 159"/>
                    <a:gd name="T8" fmla="*/ 4 w 201"/>
                    <a:gd name="T9" fmla="*/ 0 h 159"/>
                    <a:gd name="T10" fmla="*/ 5 w 201"/>
                    <a:gd name="T11" fmla="*/ 1 h 159"/>
                    <a:gd name="T12" fmla="*/ 4 w 201"/>
                    <a:gd name="T13" fmla="*/ 1 h 159"/>
                    <a:gd name="T14" fmla="*/ 4 w 201"/>
                    <a:gd name="T15" fmla="*/ 2 h 159"/>
                    <a:gd name="T16" fmla="*/ 4 w 201"/>
                    <a:gd name="T17" fmla="*/ 4 h 159"/>
                    <a:gd name="T18" fmla="*/ 1 w 201"/>
                    <a:gd name="T19" fmla="*/ 3 h 159"/>
                    <a:gd name="T20" fmla="*/ 0 w 201"/>
                    <a:gd name="T21" fmla="*/ 2 h 159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1"/>
                    <a:gd name="T34" fmla="*/ 0 h 159"/>
                    <a:gd name="T35" fmla="*/ 201 w 201"/>
                    <a:gd name="T36" fmla="*/ 159 h 159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1" h="159">
                      <a:moveTo>
                        <a:pt x="0" y="74"/>
                      </a:moveTo>
                      <a:lnTo>
                        <a:pt x="12" y="70"/>
                      </a:lnTo>
                      <a:lnTo>
                        <a:pt x="27" y="96"/>
                      </a:lnTo>
                      <a:lnTo>
                        <a:pt x="112" y="94"/>
                      </a:lnTo>
                      <a:lnTo>
                        <a:pt x="190" y="0"/>
                      </a:lnTo>
                      <a:lnTo>
                        <a:pt x="201" y="58"/>
                      </a:lnTo>
                      <a:lnTo>
                        <a:pt x="178" y="59"/>
                      </a:lnTo>
                      <a:lnTo>
                        <a:pt x="190" y="94"/>
                      </a:lnTo>
                      <a:lnTo>
                        <a:pt x="159" y="159"/>
                      </a:lnTo>
                      <a:lnTo>
                        <a:pt x="37" y="145"/>
                      </a:lnTo>
                      <a:lnTo>
                        <a:pt x="0" y="74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5" name="Freeform 418"/>
                <p:cNvSpPr/>
                <p:nvPr/>
              </p:nvSpPr>
              <p:spPr bwMode="auto">
                <a:xfrm>
                  <a:off x="1385222" y="3163274"/>
                  <a:ext cx="70758" cy="152753"/>
                </a:xfrm>
                <a:custGeom>
                  <a:avLst/>
                  <a:gdLst>
                    <a:gd name="T0" fmla="*/ 0 w 149"/>
                    <a:gd name="T1" fmla="*/ 4 h 334"/>
                    <a:gd name="T2" fmla="*/ 1 w 149"/>
                    <a:gd name="T3" fmla="*/ 3 h 334"/>
                    <a:gd name="T4" fmla="*/ 1 w 149"/>
                    <a:gd name="T5" fmla="*/ 0 h 334"/>
                    <a:gd name="T6" fmla="*/ 3 w 149"/>
                    <a:gd name="T7" fmla="*/ 0 h 334"/>
                    <a:gd name="T8" fmla="*/ 3 w 149"/>
                    <a:gd name="T9" fmla="*/ 1 h 334"/>
                    <a:gd name="T10" fmla="*/ 3 w 149"/>
                    <a:gd name="T11" fmla="*/ 2 h 334"/>
                    <a:gd name="T12" fmla="*/ 2 w 149"/>
                    <a:gd name="T13" fmla="*/ 4 h 334"/>
                    <a:gd name="T14" fmla="*/ 3 w 149"/>
                    <a:gd name="T15" fmla="*/ 5 h 334"/>
                    <a:gd name="T16" fmla="*/ 2 w 149"/>
                    <a:gd name="T17" fmla="*/ 8 h 334"/>
                    <a:gd name="T18" fmla="*/ 1 w 149"/>
                    <a:gd name="T19" fmla="*/ 6 h 334"/>
                    <a:gd name="T20" fmla="*/ 0 w 149"/>
                    <a:gd name="T21" fmla="*/ 4 h 33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49"/>
                    <a:gd name="T34" fmla="*/ 0 h 334"/>
                    <a:gd name="T35" fmla="*/ 149 w 149"/>
                    <a:gd name="T36" fmla="*/ 334 h 33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49" h="334">
                      <a:moveTo>
                        <a:pt x="0" y="155"/>
                      </a:moveTo>
                      <a:lnTo>
                        <a:pt x="35" y="124"/>
                      </a:lnTo>
                      <a:lnTo>
                        <a:pt x="47" y="4"/>
                      </a:lnTo>
                      <a:lnTo>
                        <a:pt x="142" y="0"/>
                      </a:lnTo>
                      <a:lnTo>
                        <a:pt x="119" y="40"/>
                      </a:lnTo>
                      <a:lnTo>
                        <a:pt x="146" y="93"/>
                      </a:lnTo>
                      <a:lnTo>
                        <a:pt x="91" y="155"/>
                      </a:lnTo>
                      <a:lnTo>
                        <a:pt x="149" y="195"/>
                      </a:lnTo>
                      <a:lnTo>
                        <a:pt x="76" y="334"/>
                      </a:lnTo>
                      <a:lnTo>
                        <a:pt x="67" y="245"/>
                      </a:lnTo>
                      <a:lnTo>
                        <a:pt x="0" y="15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6" name="Freeform 419"/>
                <p:cNvSpPr/>
                <p:nvPr/>
              </p:nvSpPr>
              <p:spPr bwMode="auto">
                <a:xfrm>
                  <a:off x="1727221" y="3050300"/>
                  <a:ext cx="52226" cy="42962"/>
                </a:xfrm>
                <a:custGeom>
                  <a:avLst/>
                  <a:gdLst>
                    <a:gd name="T0" fmla="*/ 0 w 107"/>
                    <a:gd name="T1" fmla="*/ 1 h 93"/>
                    <a:gd name="T2" fmla="*/ 0 w 107"/>
                    <a:gd name="T3" fmla="*/ 0 h 93"/>
                    <a:gd name="T4" fmla="*/ 2 w 107"/>
                    <a:gd name="T5" fmla="*/ 0 h 93"/>
                    <a:gd name="T6" fmla="*/ 3 w 107"/>
                    <a:gd name="T7" fmla="*/ 1 h 93"/>
                    <a:gd name="T8" fmla="*/ 1 w 107"/>
                    <a:gd name="T9" fmla="*/ 1 h 93"/>
                    <a:gd name="T10" fmla="*/ 0 w 107"/>
                    <a:gd name="T11" fmla="*/ 2 h 93"/>
                    <a:gd name="T12" fmla="*/ 1 w 107"/>
                    <a:gd name="T13" fmla="*/ 2 h 93"/>
                    <a:gd name="T14" fmla="*/ 0 w 107"/>
                    <a:gd name="T15" fmla="*/ 1 h 9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07"/>
                    <a:gd name="T25" fmla="*/ 0 h 93"/>
                    <a:gd name="T26" fmla="*/ 107 w 107"/>
                    <a:gd name="T27" fmla="*/ 93 h 9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07" h="93">
                      <a:moveTo>
                        <a:pt x="0" y="61"/>
                      </a:moveTo>
                      <a:lnTo>
                        <a:pt x="14" y="4"/>
                      </a:lnTo>
                      <a:lnTo>
                        <a:pt x="73" y="0"/>
                      </a:lnTo>
                      <a:lnTo>
                        <a:pt x="107" y="45"/>
                      </a:lnTo>
                      <a:lnTo>
                        <a:pt x="59" y="47"/>
                      </a:lnTo>
                      <a:lnTo>
                        <a:pt x="6" y="93"/>
                      </a:lnTo>
                      <a:lnTo>
                        <a:pt x="29" y="65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7" name="Freeform 420"/>
                <p:cNvSpPr/>
                <p:nvPr/>
              </p:nvSpPr>
              <p:spPr bwMode="auto">
                <a:xfrm>
                  <a:off x="1733960" y="3047118"/>
                  <a:ext cx="338629" cy="143206"/>
                </a:xfrm>
                <a:custGeom>
                  <a:avLst/>
                  <a:gdLst>
                    <a:gd name="T0" fmla="*/ 0 w 703"/>
                    <a:gd name="T1" fmla="*/ 3 h 317"/>
                    <a:gd name="T2" fmla="*/ 1 w 703"/>
                    <a:gd name="T3" fmla="*/ 4 h 317"/>
                    <a:gd name="T4" fmla="*/ 0 w 703"/>
                    <a:gd name="T5" fmla="*/ 5 h 317"/>
                    <a:gd name="T6" fmla="*/ 1 w 703"/>
                    <a:gd name="T7" fmla="*/ 5 h 317"/>
                    <a:gd name="T8" fmla="*/ 1 w 703"/>
                    <a:gd name="T9" fmla="*/ 6 h 317"/>
                    <a:gd name="T10" fmla="*/ 2 w 703"/>
                    <a:gd name="T11" fmla="*/ 6 h 317"/>
                    <a:gd name="T12" fmla="*/ 1 w 703"/>
                    <a:gd name="T13" fmla="*/ 6 h 317"/>
                    <a:gd name="T14" fmla="*/ 2 w 703"/>
                    <a:gd name="T15" fmla="*/ 6 h 317"/>
                    <a:gd name="T16" fmla="*/ 3 w 703"/>
                    <a:gd name="T17" fmla="*/ 7 h 317"/>
                    <a:gd name="T18" fmla="*/ 4 w 703"/>
                    <a:gd name="T19" fmla="*/ 6 h 317"/>
                    <a:gd name="T20" fmla="*/ 6 w 703"/>
                    <a:gd name="T21" fmla="*/ 7 h 317"/>
                    <a:gd name="T22" fmla="*/ 9 w 703"/>
                    <a:gd name="T23" fmla="*/ 6 h 317"/>
                    <a:gd name="T24" fmla="*/ 9 w 703"/>
                    <a:gd name="T25" fmla="*/ 7 h 317"/>
                    <a:gd name="T26" fmla="*/ 9 w 703"/>
                    <a:gd name="T27" fmla="*/ 6 h 317"/>
                    <a:gd name="T28" fmla="*/ 15 w 703"/>
                    <a:gd name="T29" fmla="*/ 6 h 317"/>
                    <a:gd name="T30" fmla="*/ 16 w 703"/>
                    <a:gd name="T31" fmla="*/ 6 h 317"/>
                    <a:gd name="T32" fmla="*/ 16 w 703"/>
                    <a:gd name="T33" fmla="*/ 3 h 317"/>
                    <a:gd name="T34" fmla="*/ 16 w 703"/>
                    <a:gd name="T35" fmla="*/ 3 h 317"/>
                    <a:gd name="T36" fmla="*/ 15 w 703"/>
                    <a:gd name="T37" fmla="*/ 1 h 317"/>
                    <a:gd name="T38" fmla="*/ 13 w 703"/>
                    <a:gd name="T39" fmla="*/ 1 h 317"/>
                    <a:gd name="T40" fmla="*/ 11 w 703"/>
                    <a:gd name="T41" fmla="*/ 1 h 317"/>
                    <a:gd name="T42" fmla="*/ 8 w 703"/>
                    <a:gd name="T43" fmla="*/ 0 h 317"/>
                    <a:gd name="T44" fmla="*/ 6 w 703"/>
                    <a:gd name="T45" fmla="*/ 0 h 317"/>
                    <a:gd name="T46" fmla="*/ 4 w 703"/>
                    <a:gd name="T47" fmla="*/ 1 h 317"/>
                    <a:gd name="T48" fmla="*/ 3 w 703"/>
                    <a:gd name="T49" fmla="*/ 1 h 317"/>
                    <a:gd name="T50" fmla="*/ 3 w 703"/>
                    <a:gd name="T51" fmla="*/ 2 h 317"/>
                    <a:gd name="T52" fmla="*/ 0 w 703"/>
                    <a:gd name="T53" fmla="*/ 3 h 317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703"/>
                    <a:gd name="T82" fmla="*/ 0 h 317"/>
                    <a:gd name="T83" fmla="*/ 703 w 703"/>
                    <a:gd name="T84" fmla="*/ 317 h 317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703" h="317">
                      <a:moveTo>
                        <a:pt x="0" y="106"/>
                      </a:moveTo>
                      <a:lnTo>
                        <a:pt x="27" y="188"/>
                      </a:lnTo>
                      <a:lnTo>
                        <a:pt x="1" y="196"/>
                      </a:lnTo>
                      <a:lnTo>
                        <a:pt x="27" y="210"/>
                      </a:lnTo>
                      <a:lnTo>
                        <a:pt x="39" y="260"/>
                      </a:lnTo>
                      <a:lnTo>
                        <a:pt x="79" y="254"/>
                      </a:lnTo>
                      <a:lnTo>
                        <a:pt x="39" y="276"/>
                      </a:lnTo>
                      <a:lnTo>
                        <a:pt x="84" y="267"/>
                      </a:lnTo>
                      <a:lnTo>
                        <a:pt x="136" y="300"/>
                      </a:lnTo>
                      <a:lnTo>
                        <a:pt x="179" y="265"/>
                      </a:lnTo>
                      <a:lnTo>
                        <a:pt x="246" y="311"/>
                      </a:lnTo>
                      <a:lnTo>
                        <a:pt x="368" y="265"/>
                      </a:lnTo>
                      <a:lnTo>
                        <a:pt x="366" y="317"/>
                      </a:lnTo>
                      <a:lnTo>
                        <a:pt x="388" y="265"/>
                      </a:lnTo>
                      <a:lnTo>
                        <a:pt x="618" y="253"/>
                      </a:lnTo>
                      <a:lnTo>
                        <a:pt x="703" y="249"/>
                      </a:lnTo>
                      <a:lnTo>
                        <a:pt x="675" y="139"/>
                      </a:lnTo>
                      <a:lnTo>
                        <a:pt x="695" y="115"/>
                      </a:lnTo>
                      <a:lnTo>
                        <a:pt x="624" y="20"/>
                      </a:lnTo>
                      <a:lnTo>
                        <a:pt x="577" y="20"/>
                      </a:lnTo>
                      <a:lnTo>
                        <a:pt x="449" y="60"/>
                      </a:lnTo>
                      <a:lnTo>
                        <a:pt x="336" y="0"/>
                      </a:lnTo>
                      <a:lnTo>
                        <a:pt x="267" y="1"/>
                      </a:lnTo>
                      <a:lnTo>
                        <a:pt x="180" y="56"/>
                      </a:lnTo>
                      <a:lnTo>
                        <a:pt x="108" y="41"/>
                      </a:lnTo>
                      <a:lnTo>
                        <a:pt x="132" y="70"/>
                      </a:lnTo>
                      <a:lnTo>
                        <a:pt x="0" y="10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8" name="Freeform 421"/>
                <p:cNvSpPr/>
                <p:nvPr/>
              </p:nvSpPr>
              <p:spPr bwMode="auto">
                <a:xfrm>
                  <a:off x="1065125" y="2711379"/>
                  <a:ext cx="72443" cy="93880"/>
                </a:xfrm>
                <a:custGeom>
                  <a:avLst/>
                  <a:gdLst>
                    <a:gd name="T0" fmla="*/ 0 w 152"/>
                    <a:gd name="T1" fmla="*/ 4 h 209"/>
                    <a:gd name="T2" fmla="*/ 0 w 152"/>
                    <a:gd name="T3" fmla="*/ 4 h 209"/>
                    <a:gd name="T4" fmla="*/ 0 w 152"/>
                    <a:gd name="T5" fmla="*/ 5 h 209"/>
                    <a:gd name="T6" fmla="*/ 3 w 152"/>
                    <a:gd name="T7" fmla="*/ 4 h 209"/>
                    <a:gd name="T8" fmla="*/ 3 w 152"/>
                    <a:gd name="T9" fmla="*/ 1 h 209"/>
                    <a:gd name="T10" fmla="*/ 3 w 152"/>
                    <a:gd name="T11" fmla="*/ 1 h 209"/>
                    <a:gd name="T12" fmla="*/ 2 w 152"/>
                    <a:gd name="T13" fmla="*/ 1 h 209"/>
                    <a:gd name="T14" fmla="*/ 2 w 152"/>
                    <a:gd name="T15" fmla="*/ 1 h 209"/>
                    <a:gd name="T16" fmla="*/ 2 w 152"/>
                    <a:gd name="T17" fmla="*/ 0 h 209"/>
                    <a:gd name="T18" fmla="*/ 2 w 152"/>
                    <a:gd name="T19" fmla="*/ 0 h 209"/>
                    <a:gd name="T20" fmla="*/ 1 w 152"/>
                    <a:gd name="T21" fmla="*/ 1 h 209"/>
                    <a:gd name="T22" fmla="*/ 0 w 152"/>
                    <a:gd name="T23" fmla="*/ 1 h 209"/>
                    <a:gd name="T24" fmla="*/ 1 w 152"/>
                    <a:gd name="T25" fmla="*/ 2 h 209"/>
                    <a:gd name="T26" fmla="*/ 0 w 152"/>
                    <a:gd name="T27" fmla="*/ 3 h 209"/>
                    <a:gd name="T28" fmla="*/ 1 w 152"/>
                    <a:gd name="T29" fmla="*/ 3 h 209"/>
                    <a:gd name="T30" fmla="*/ 0 w 152"/>
                    <a:gd name="T31" fmla="*/ 4 h 209"/>
                    <a:gd name="T32" fmla="*/ 1 w 152"/>
                    <a:gd name="T33" fmla="*/ 3 h 209"/>
                    <a:gd name="T34" fmla="*/ 0 w 152"/>
                    <a:gd name="T35" fmla="*/ 4 h 209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52"/>
                    <a:gd name="T55" fmla="*/ 0 h 209"/>
                    <a:gd name="T56" fmla="*/ 152 w 152"/>
                    <a:gd name="T57" fmla="*/ 209 h 209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52" h="209">
                      <a:moveTo>
                        <a:pt x="0" y="177"/>
                      </a:moveTo>
                      <a:lnTo>
                        <a:pt x="18" y="193"/>
                      </a:lnTo>
                      <a:lnTo>
                        <a:pt x="2" y="209"/>
                      </a:lnTo>
                      <a:lnTo>
                        <a:pt x="142" y="178"/>
                      </a:lnTo>
                      <a:lnTo>
                        <a:pt x="152" y="67"/>
                      </a:lnTo>
                      <a:lnTo>
                        <a:pt x="133" y="41"/>
                      </a:lnTo>
                      <a:lnTo>
                        <a:pt x="93" y="54"/>
                      </a:lnTo>
                      <a:lnTo>
                        <a:pt x="79" y="37"/>
                      </a:lnTo>
                      <a:lnTo>
                        <a:pt x="96" y="12"/>
                      </a:lnTo>
                      <a:lnTo>
                        <a:pt x="79" y="0"/>
                      </a:lnTo>
                      <a:lnTo>
                        <a:pt x="63" y="52"/>
                      </a:lnTo>
                      <a:lnTo>
                        <a:pt x="2" y="67"/>
                      </a:lnTo>
                      <a:lnTo>
                        <a:pt x="22" y="79"/>
                      </a:lnTo>
                      <a:lnTo>
                        <a:pt x="8" y="109"/>
                      </a:lnTo>
                      <a:lnTo>
                        <a:pt x="49" y="117"/>
                      </a:lnTo>
                      <a:lnTo>
                        <a:pt x="13" y="158"/>
                      </a:lnTo>
                      <a:lnTo>
                        <a:pt x="53" y="148"/>
                      </a:lnTo>
                      <a:lnTo>
                        <a:pt x="0" y="17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9" name="Freeform 422"/>
                <p:cNvSpPr/>
                <p:nvPr/>
              </p:nvSpPr>
              <p:spPr bwMode="auto">
                <a:xfrm>
                  <a:off x="1103873" y="2705014"/>
                  <a:ext cx="45488" cy="36597"/>
                </a:xfrm>
                <a:custGeom>
                  <a:avLst/>
                  <a:gdLst>
                    <a:gd name="T0" fmla="*/ 0 w 97"/>
                    <a:gd name="T1" fmla="*/ 1 h 82"/>
                    <a:gd name="T2" fmla="*/ 0 w 97"/>
                    <a:gd name="T3" fmla="*/ 1 h 82"/>
                    <a:gd name="T4" fmla="*/ 1 w 97"/>
                    <a:gd name="T5" fmla="*/ 1 h 82"/>
                    <a:gd name="T6" fmla="*/ 2 w 97"/>
                    <a:gd name="T7" fmla="*/ 2 h 82"/>
                    <a:gd name="T8" fmla="*/ 2 w 97"/>
                    <a:gd name="T9" fmla="*/ 1 h 82"/>
                    <a:gd name="T10" fmla="*/ 2 w 97"/>
                    <a:gd name="T11" fmla="*/ 0 h 82"/>
                    <a:gd name="T12" fmla="*/ 1 w 97"/>
                    <a:gd name="T13" fmla="*/ 0 h 82"/>
                    <a:gd name="T14" fmla="*/ 0 w 97"/>
                    <a:gd name="T15" fmla="*/ 1 h 82"/>
                    <a:gd name="T16" fmla="*/ 0 w 97"/>
                    <a:gd name="T17" fmla="*/ 1 h 82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97"/>
                    <a:gd name="T28" fmla="*/ 0 h 82"/>
                    <a:gd name="T29" fmla="*/ 97 w 97"/>
                    <a:gd name="T30" fmla="*/ 82 h 82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97" h="82">
                      <a:moveTo>
                        <a:pt x="0" y="52"/>
                      </a:moveTo>
                      <a:lnTo>
                        <a:pt x="14" y="69"/>
                      </a:lnTo>
                      <a:lnTo>
                        <a:pt x="54" y="56"/>
                      </a:lnTo>
                      <a:lnTo>
                        <a:pt x="73" y="82"/>
                      </a:lnTo>
                      <a:lnTo>
                        <a:pt x="97" y="52"/>
                      </a:lnTo>
                      <a:lnTo>
                        <a:pt x="74" y="15"/>
                      </a:lnTo>
                      <a:lnTo>
                        <a:pt x="29" y="0"/>
                      </a:lnTo>
                      <a:lnTo>
                        <a:pt x="17" y="27"/>
                      </a:lnTo>
                      <a:lnTo>
                        <a:pt x="0" y="5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0" name="Freeform 423"/>
                <p:cNvSpPr/>
                <p:nvPr/>
              </p:nvSpPr>
              <p:spPr bwMode="auto">
                <a:xfrm>
                  <a:off x="1124090" y="2622273"/>
                  <a:ext cx="13478" cy="14321"/>
                </a:xfrm>
                <a:custGeom>
                  <a:avLst/>
                  <a:gdLst>
                    <a:gd name="T0" fmla="*/ 0 w 26"/>
                    <a:gd name="T1" fmla="*/ 1 h 35"/>
                    <a:gd name="T2" fmla="*/ 0 w 26"/>
                    <a:gd name="T3" fmla="*/ 0 h 35"/>
                    <a:gd name="T4" fmla="*/ 1 w 26"/>
                    <a:gd name="T5" fmla="*/ 0 h 35"/>
                    <a:gd name="T6" fmla="*/ 0 w 26"/>
                    <a:gd name="T7" fmla="*/ 1 h 3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35"/>
                    <a:gd name="T14" fmla="*/ 26 w 26"/>
                    <a:gd name="T15" fmla="*/ 35 h 3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35">
                      <a:moveTo>
                        <a:pt x="0" y="35"/>
                      </a:moveTo>
                      <a:lnTo>
                        <a:pt x="0" y="8"/>
                      </a:lnTo>
                      <a:lnTo>
                        <a:pt x="26" y="0"/>
                      </a:lnTo>
                      <a:lnTo>
                        <a:pt x="0" y="3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1" name="Freeform 424"/>
                <p:cNvSpPr/>
                <p:nvPr/>
              </p:nvSpPr>
              <p:spPr bwMode="auto">
                <a:xfrm>
                  <a:off x="1129144" y="2638185"/>
                  <a:ext cx="10108" cy="11138"/>
                </a:xfrm>
                <a:custGeom>
                  <a:avLst/>
                  <a:gdLst>
                    <a:gd name="T0" fmla="*/ 0 w 22"/>
                    <a:gd name="T1" fmla="*/ 0 h 24"/>
                    <a:gd name="T2" fmla="*/ 0 w 22"/>
                    <a:gd name="T3" fmla="*/ 0 h 24"/>
                    <a:gd name="T4" fmla="*/ 1 w 22"/>
                    <a:gd name="T5" fmla="*/ 1 h 24"/>
                    <a:gd name="T6" fmla="*/ 0 w 22"/>
                    <a:gd name="T7" fmla="*/ 0 h 2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2"/>
                    <a:gd name="T13" fmla="*/ 0 h 24"/>
                    <a:gd name="T14" fmla="*/ 22 w 22"/>
                    <a:gd name="T15" fmla="*/ 24 h 2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2" h="24">
                      <a:moveTo>
                        <a:pt x="0" y="18"/>
                      </a:moveTo>
                      <a:lnTo>
                        <a:pt x="14" y="0"/>
                      </a:lnTo>
                      <a:lnTo>
                        <a:pt x="22" y="24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2" name="Freeform 425"/>
                <p:cNvSpPr/>
                <p:nvPr/>
              </p:nvSpPr>
              <p:spPr bwMode="auto">
                <a:xfrm>
                  <a:off x="1139252" y="2612726"/>
                  <a:ext cx="143201" cy="237086"/>
                </a:xfrm>
                <a:custGeom>
                  <a:avLst/>
                  <a:gdLst>
                    <a:gd name="T0" fmla="*/ 0 w 297"/>
                    <a:gd name="T1" fmla="*/ 3 h 521"/>
                    <a:gd name="T2" fmla="*/ 0 w 297"/>
                    <a:gd name="T3" fmla="*/ 1 h 521"/>
                    <a:gd name="T4" fmla="*/ 1 w 297"/>
                    <a:gd name="T5" fmla="*/ 0 h 521"/>
                    <a:gd name="T6" fmla="*/ 3 w 297"/>
                    <a:gd name="T7" fmla="*/ 0 h 521"/>
                    <a:gd name="T8" fmla="*/ 2 w 297"/>
                    <a:gd name="T9" fmla="*/ 1 h 521"/>
                    <a:gd name="T10" fmla="*/ 4 w 297"/>
                    <a:gd name="T11" fmla="*/ 2 h 521"/>
                    <a:gd name="T12" fmla="*/ 3 w 297"/>
                    <a:gd name="T13" fmla="*/ 4 h 521"/>
                    <a:gd name="T14" fmla="*/ 4 w 297"/>
                    <a:gd name="T15" fmla="*/ 4 h 521"/>
                    <a:gd name="T16" fmla="*/ 5 w 297"/>
                    <a:gd name="T17" fmla="*/ 7 h 521"/>
                    <a:gd name="T18" fmla="*/ 5 w 297"/>
                    <a:gd name="T19" fmla="*/ 7 h 521"/>
                    <a:gd name="T20" fmla="*/ 6 w 297"/>
                    <a:gd name="T21" fmla="*/ 8 h 521"/>
                    <a:gd name="T22" fmla="*/ 5 w 297"/>
                    <a:gd name="T23" fmla="*/ 8 h 521"/>
                    <a:gd name="T24" fmla="*/ 7 w 297"/>
                    <a:gd name="T25" fmla="*/ 9 h 521"/>
                    <a:gd name="T26" fmla="*/ 6 w 297"/>
                    <a:gd name="T27" fmla="*/ 10 h 521"/>
                    <a:gd name="T28" fmla="*/ 7 w 297"/>
                    <a:gd name="T29" fmla="*/ 11 h 521"/>
                    <a:gd name="T30" fmla="*/ 0 w 297"/>
                    <a:gd name="T31" fmla="*/ 12 h 521"/>
                    <a:gd name="T32" fmla="*/ 3 w 297"/>
                    <a:gd name="T33" fmla="*/ 10 h 521"/>
                    <a:gd name="T34" fmla="*/ 2 w 297"/>
                    <a:gd name="T35" fmla="*/ 10 h 521"/>
                    <a:gd name="T36" fmla="*/ 1 w 297"/>
                    <a:gd name="T37" fmla="*/ 9 h 521"/>
                    <a:gd name="T38" fmla="*/ 2 w 297"/>
                    <a:gd name="T39" fmla="*/ 9 h 521"/>
                    <a:gd name="T40" fmla="*/ 1 w 297"/>
                    <a:gd name="T41" fmla="*/ 8 h 521"/>
                    <a:gd name="T42" fmla="*/ 3 w 297"/>
                    <a:gd name="T43" fmla="*/ 7 h 521"/>
                    <a:gd name="T44" fmla="*/ 3 w 297"/>
                    <a:gd name="T45" fmla="*/ 6 h 521"/>
                    <a:gd name="T46" fmla="*/ 2 w 297"/>
                    <a:gd name="T47" fmla="*/ 6 h 521"/>
                    <a:gd name="T48" fmla="*/ 3 w 297"/>
                    <a:gd name="T49" fmla="*/ 5 h 521"/>
                    <a:gd name="T50" fmla="*/ 1 w 297"/>
                    <a:gd name="T51" fmla="*/ 6 h 521"/>
                    <a:gd name="T52" fmla="*/ 1 w 297"/>
                    <a:gd name="T53" fmla="*/ 4 h 521"/>
                    <a:gd name="T54" fmla="*/ 0 w 297"/>
                    <a:gd name="T55" fmla="*/ 5 h 521"/>
                    <a:gd name="T56" fmla="*/ 1 w 297"/>
                    <a:gd name="T57" fmla="*/ 3 h 521"/>
                    <a:gd name="T58" fmla="*/ 0 w 297"/>
                    <a:gd name="T59" fmla="*/ 3 h 521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w 297"/>
                    <a:gd name="T91" fmla="*/ 0 h 521"/>
                    <a:gd name="T92" fmla="*/ 297 w 297"/>
                    <a:gd name="T93" fmla="*/ 521 h 521"/>
                  </a:gdLst>
                  <a:ahLst/>
                  <a:cxnLst>
                    <a:cxn ang="T60">
                      <a:pos x="T0" y="T1"/>
                    </a:cxn>
                    <a:cxn ang="T61">
                      <a:pos x="T2" y="T3"/>
                    </a:cxn>
                    <a:cxn ang="T62">
                      <a:pos x="T4" y="T5"/>
                    </a:cxn>
                    <a:cxn ang="T63">
                      <a:pos x="T6" y="T7"/>
                    </a:cxn>
                    <a:cxn ang="T64">
                      <a:pos x="T8" y="T9"/>
                    </a:cxn>
                    <a:cxn ang="T65">
                      <a:pos x="T10" y="T11"/>
                    </a:cxn>
                    <a:cxn ang="T66">
                      <a:pos x="T12" y="T13"/>
                    </a:cxn>
                    <a:cxn ang="T67">
                      <a:pos x="T14" y="T15"/>
                    </a:cxn>
                    <a:cxn ang="T68">
                      <a:pos x="T16" y="T17"/>
                    </a:cxn>
                    <a:cxn ang="T69">
                      <a:pos x="T18" y="T19"/>
                    </a:cxn>
                    <a:cxn ang="T70">
                      <a:pos x="T20" y="T21"/>
                    </a:cxn>
                    <a:cxn ang="T71">
                      <a:pos x="T22" y="T23"/>
                    </a:cxn>
                    <a:cxn ang="T72">
                      <a:pos x="T24" y="T25"/>
                    </a:cxn>
                    <a:cxn ang="T73">
                      <a:pos x="T26" y="T27"/>
                    </a:cxn>
                    <a:cxn ang="T74">
                      <a:pos x="T28" y="T29"/>
                    </a:cxn>
                    <a:cxn ang="T75">
                      <a:pos x="T30" y="T31"/>
                    </a:cxn>
                    <a:cxn ang="T76">
                      <a:pos x="T32" y="T33"/>
                    </a:cxn>
                    <a:cxn ang="T77">
                      <a:pos x="T34" y="T35"/>
                    </a:cxn>
                    <a:cxn ang="T78">
                      <a:pos x="T36" y="T37"/>
                    </a:cxn>
                    <a:cxn ang="T79">
                      <a:pos x="T38" y="T39"/>
                    </a:cxn>
                    <a:cxn ang="T80">
                      <a:pos x="T40" y="T41"/>
                    </a:cxn>
                    <a:cxn ang="T81">
                      <a:pos x="T42" y="T43"/>
                    </a:cxn>
                    <a:cxn ang="T82">
                      <a:pos x="T44" y="T45"/>
                    </a:cxn>
                    <a:cxn ang="T83">
                      <a:pos x="T46" y="T47"/>
                    </a:cxn>
                    <a:cxn ang="T84">
                      <a:pos x="T48" y="T49"/>
                    </a:cxn>
                    <a:cxn ang="T85">
                      <a:pos x="T50" y="T51"/>
                    </a:cxn>
                    <a:cxn ang="T86">
                      <a:pos x="T52" y="T53"/>
                    </a:cxn>
                    <a:cxn ang="T87">
                      <a:pos x="T54" y="T55"/>
                    </a:cxn>
                    <a:cxn ang="T88">
                      <a:pos x="T56" y="T57"/>
                    </a:cxn>
                    <a:cxn ang="T89">
                      <a:pos x="T58" y="T59"/>
                    </a:cxn>
                  </a:cxnLst>
                  <a:rect l="T90" t="T91" r="T92" b="T93"/>
                  <a:pathLst>
                    <a:path w="297" h="521">
                      <a:moveTo>
                        <a:pt x="0" y="122"/>
                      </a:moveTo>
                      <a:lnTo>
                        <a:pt x="11" y="50"/>
                      </a:lnTo>
                      <a:lnTo>
                        <a:pt x="49" y="0"/>
                      </a:lnTo>
                      <a:lnTo>
                        <a:pt x="113" y="0"/>
                      </a:lnTo>
                      <a:lnTo>
                        <a:pt x="73" y="62"/>
                      </a:lnTo>
                      <a:lnTo>
                        <a:pt x="161" y="74"/>
                      </a:lnTo>
                      <a:lnTo>
                        <a:pt x="106" y="161"/>
                      </a:lnTo>
                      <a:lnTo>
                        <a:pt x="175" y="189"/>
                      </a:lnTo>
                      <a:lnTo>
                        <a:pt x="239" y="296"/>
                      </a:lnTo>
                      <a:lnTo>
                        <a:pt x="220" y="304"/>
                      </a:lnTo>
                      <a:lnTo>
                        <a:pt x="248" y="330"/>
                      </a:lnTo>
                      <a:lnTo>
                        <a:pt x="231" y="359"/>
                      </a:lnTo>
                      <a:lnTo>
                        <a:pt x="297" y="364"/>
                      </a:lnTo>
                      <a:lnTo>
                        <a:pt x="258" y="433"/>
                      </a:lnTo>
                      <a:lnTo>
                        <a:pt x="285" y="455"/>
                      </a:lnTo>
                      <a:lnTo>
                        <a:pt x="18" y="521"/>
                      </a:lnTo>
                      <a:lnTo>
                        <a:pt x="139" y="423"/>
                      </a:lnTo>
                      <a:lnTo>
                        <a:pt x="102" y="438"/>
                      </a:lnTo>
                      <a:lnTo>
                        <a:pt x="34" y="410"/>
                      </a:lnTo>
                      <a:lnTo>
                        <a:pt x="85" y="375"/>
                      </a:lnTo>
                      <a:lnTo>
                        <a:pt x="55" y="359"/>
                      </a:lnTo>
                      <a:lnTo>
                        <a:pt x="123" y="319"/>
                      </a:lnTo>
                      <a:lnTo>
                        <a:pt x="133" y="271"/>
                      </a:lnTo>
                      <a:lnTo>
                        <a:pt x="95" y="256"/>
                      </a:lnTo>
                      <a:lnTo>
                        <a:pt x="113" y="229"/>
                      </a:lnTo>
                      <a:lnTo>
                        <a:pt x="46" y="242"/>
                      </a:lnTo>
                      <a:lnTo>
                        <a:pt x="49" y="169"/>
                      </a:lnTo>
                      <a:lnTo>
                        <a:pt x="11" y="202"/>
                      </a:lnTo>
                      <a:lnTo>
                        <a:pt x="31" y="126"/>
                      </a:lnTo>
                      <a:lnTo>
                        <a:pt x="0" y="12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3" name="Freeform 426"/>
                <p:cNvSpPr/>
                <p:nvPr/>
              </p:nvSpPr>
              <p:spPr bwMode="auto">
                <a:xfrm>
                  <a:off x="4697388" y="2458382"/>
                  <a:ext cx="55596" cy="19094"/>
                </a:xfrm>
                <a:custGeom>
                  <a:avLst/>
                  <a:gdLst>
                    <a:gd name="T0" fmla="*/ 0 w 116"/>
                    <a:gd name="T1" fmla="*/ 0 h 42"/>
                    <a:gd name="T2" fmla="*/ 2 w 116"/>
                    <a:gd name="T3" fmla="*/ 0 h 42"/>
                    <a:gd name="T4" fmla="*/ 3 w 116"/>
                    <a:gd name="T5" fmla="*/ 1 h 42"/>
                    <a:gd name="T6" fmla="*/ 2 w 116"/>
                    <a:gd name="T7" fmla="*/ 1 h 42"/>
                    <a:gd name="T8" fmla="*/ 0 w 116"/>
                    <a:gd name="T9" fmla="*/ 0 h 4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6"/>
                    <a:gd name="T16" fmla="*/ 0 h 42"/>
                    <a:gd name="T17" fmla="*/ 116 w 116"/>
                    <a:gd name="T18" fmla="*/ 42 h 4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6" h="42">
                      <a:moveTo>
                        <a:pt x="0" y="14"/>
                      </a:moveTo>
                      <a:lnTo>
                        <a:pt x="71" y="0"/>
                      </a:lnTo>
                      <a:lnTo>
                        <a:pt x="116" y="21"/>
                      </a:lnTo>
                      <a:lnTo>
                        <a:pt x="92" y="42"/>
                      </a:lnTo>
                      <a:lnTo>
                        <a:pt x="0" y="14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4" name="Freeform 427"/>
                <p:cNvSpPr/>
                <p:nvPr/>
              </p:nvSpPr>
              <p:spPr bwMode="auto">
                <a:xfrm>
                  <a:off x="3123857" y="3468780"/>
                  <a:ext cx="129724" cy="299141"/>
                </a:xfrm>
                <a:custGeom>
                  <a:avLst/>
                  <a:gdLst>
                    <a:gd name="T0" fmla="*/ 0 w 268"/>
                    <a:gd name="T1" fmla="*/ 1 h 659"/>
                    <a:gd name="T2" fmla="*/ 1 w 268"/>
                    <a:gd name="T3" fmla="*/ 2 h 659"/>
                    <a:gd name="T4" fmla="*/ 2 w 268"/>
                    <a:gd name="T5" fmla="*/ 3 h 659"/>
                    <a:gd name="T6" fmla="*/ 1 w 268"/>
                    <a:gd name="T7" fmla="*/ 4 h 659"/>
                    <a:gd name="T8" fmla="*/ 4 w 268"/>
                    <a:gd name="T9" fmla="*/ 6 h 659"/>
                    <a:gd name="T10" fmla="*/ 5 w 268"/>
                    <a:gd name="T11" fmla="*/ 9 h 659"/>
                    <a:gd name="T12" fmla="*/ 5 w 268"/>
                    <a:gd name="T13" fmla="*/ 11 h 659"/>
                    <a:gd name="T14" fmla="*/ 2 w 268"/>
                    <a:gd name="T15" fmla="*/ 13 h 659"/>
                    <a:gd name="T16" fmla="*/ 3 w 268"/>
                    <a:gd name="T17" fmla="*/ 15 h 659"/>
                    <a:gd name="T18" fmla="*/ 3 w 268"/>
                    <a:gd name="T19" fmla="*/ 14 h 659"/>
                    <a:gd name="T20" fmla="*/ 4 w 268"/>
                    <a:gd name="T21" fmla="*/ 14 h 659"/>
                    <a:gd name="T22" fmla="*/ 4 w 268"/>
                    <a:gd name="T23" fmla="*/ 13 h 659"/>
                    <a:gd name="T24" fmla="*/ 6 w 268"/>
                    <a:gd name="T25" fmla="*/ 12 h 659"/>
                    <a:gd name="T26" fmla="*/ 6 w 268"/>
                    <a:gd name="T27" fmla="*/ 8 h 659"/>
                    <a:gd name="T28" fmla="*/ 3 w 268"/>
                    <a:gd name="T29" fmla="*/ 5 h 659"/>
                    <a:gd name="T30" fmla="*/ 3 w 268"/>
                    <a:gd name="T31" fmla="*/ 3 h 659"/>
                    <a:gd name="T32" fmla="*/ 5 w 268"/>
                    <a:gd name="T33" fmla="*/ 2 h 659"/>
                    <a:gd name="T34" fmla="*/ 3 w 268"/>
                    <a:gd name="T35" fmla="*/ 0 h 659"/>
                    <a:gd name="T36" fmla="*/ 0 w 268"/>
                    <a:gd name="T37" fmla="*/ 1 h 659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268"/>
                    <a:gd name="T58" fmla="*/ 0 h 659"/>
                    <a:gd name="T59" fmla="*/ 268 w 268"/>
                    <a:gd name="T60" fmla="*/ 659 h 659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268" h="659">
                      <a:moveTo>
                        <a:pt x="0" y="34"/>
                      </a:moveTo>
                      <a:lnTo>
                        <a:pt x="39" y="101"/>
                      </a:lnTo>
                      <a:lnTo>
                        <a:pt x="92" y="128"/>
                      </a:lnTo>
                      <a:lnTo>
                        <a:pt x="65" y="181"/>
                      </a:lnTo>
                      <a:lnTo>
                        <a:pt x="158" y="268"/>
                      </a:lnTo>
                      <a:lnTo>
                        <a:pt x="201" y="387"/>
                      </a:lnTo>
                      <a:lnTo>
                        <a:pt x="204" y="489"/>
                      </a:lnTo>
                      <a:lnTo>
                        <a:pt x="87" y="577"/>
                      </a:lnTo>
                      <a:lnTo>
                        <a:pt x="110" y="659"/>
                      </a:lnTo>
                      <a:lnTo>
                        <a:pt x="143" y="602"/>
                      </a:lnTo>
                      <a:lnTo>
                        <a:pt x="165" y="615"/>
                      </a:lnTo>
                      <a:lnTo>
                        <a:pt x="175" y="580"/>
                      </a:lnTo>
                      <a:lnTo>
                        <a:pt x="268" y="519"/>
                      </a:lnTo>
                      <a:lnTo>
                        <a:pt x="254" y="354"/>
                      </a:lnTo>
                      <a:lnTo>
                        <a:pt x="129" y="201"/>
                      </a:lnTo>
                      <a:lnTo>
                        <a:pt x="142" y="151"/>
                      </a:lnTo>
                      <a:lnTo>
                        <a:pt x="217" y="76"/>
                      </a:lnTo>
                      <a:lnTo>
                        <a:pt x="115" y="0"/>
                      </a:lnTo>
                      <a:lnTo>
                        <a:pt x="0" y="34"/>
                      </a:lnTo>
                      <a:close/>
                    </a:path>
                  </a:pathLst>
                </a:custGeom>
                <a:solidFill>
                  <a:srgbClr val="00336C"/>
                </a:solidFill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5" name="Freeform 428"/>
                <p:cNvSpPr/>
                <p:nvPr/>
              </p:nvSpPr>
              <p:spPr bwMode="auto">
                <a:xfrm>
                  <a:off x="2045634" y="3554704"/>
                  <a:ext cx="176896" cy="132068"/>
                </a:xfrm>
                <a:custGeom>
                  <a:avLst/>
                  <a:gdLst>
                    <a:gd name="T0" fmla="*/ 0 w 369"/>
                    <a:gd name="T1" fmla="*/ 7 h 289"/>
                    <a:gd name="T2" fmla="*/ 2 w 369"/>
                    <a:gd name="T3" fmla="*/ 5 h 289"/>
                    <a:gd name="T4" fmla="*/ 2 w 369"/>
                    <a:gd name="T5" fmla="*/ 5 h 289"/>
                    <a:gd name="T6" fmla="*/ 3 w 369"/>
                    <a:gd name="T7" fmla="*/ 4 h 289"/>
                    <a:gd name="T8" fmla="*/ 5 w 369"/>
                    <a:gd name="T9" fmla="*/ 1 h 289"/>
                    <a:gd name="T10" fmla="*/ 8 w 369"/>
                    <a:gd name="T11" fmla="*/ 0 h 289"/>
                    <a:gd name="T12" fmla="*/ 9 w 369"/>
                    <a:gd name="T13" fmla="*/ 3 h 289"/>
                    <a:gd name="T14" fmla="*/ 8 w 369"/>
                    <a:gd name="T15" fmla="*/ 4 h 289"/>
                    <a:gd name="T16" fmla="*/ 5 w 369"/>
                    <a:gd name="T17" fmla="*/ 5 h 289"/>
                    <a:gd name="T18" fmla="*/ 0 w 369"/>
                    <a:gd name="T19" fmla="*/ 7 h 289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69"/>
                    <a:gd name="T31" fmla="*/ 0 h 289"/>
                    <a:gd name="T32" fmla="*/ 369 w 369"/>
                    <a:gd name="T33" fmla="*/ 289 h 289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69" h="289">
                      <a:moveTo>
                        <a:pt x="0" y="289"/>
                      </a:moveTo>
                      <a:lnTo>
                        <a:pt x="96" y="225"/>
                      </a:lnTo>
                      <a:lnTo>
                        <a:pt x="79" y="194"/>
                      </a:lnTo>
                      <a:lnTo>
                        <a:pt x="108" y="157"/>
                      </a:lnTo>
                      <a:lnTo>
                        <a:pt x="207" y="33"/>
                      </a:lnTo>
                      <a:lnTo>
                        <a:pt x="329" y="0"/>
                      </a:lnTo>
                      <a:lnTo>
                        <a:pt x="369" y="113"/>
                      </a:lnTo>
                      <a:lnTo>
                        <a:pt x="336" y="157"/>
                      </a:lnTo>
                      <a:lnTo>
                        <a:pt x="197" y="232"/>
                      </a:lnTo>
                      <a:lnTo>
                        <a:pt x="0" y="28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6" name="Freeform 429"/>
                <p:cNvSpPr/>
                <p:nvPr/>
              </p:nvSpPr>
              <p:spPr bwMode="auto">
                <a:xfrm>
                  <a:off x="2032156" y="3589709"/>
                  <a:ext cx="65704" cy="97062"/>
                </a:xfrm>
                <a:custGeom>
                  <a:avLst/>
                  <a:gdLst>
                    <a:gd name="T0" fmla="*/ 0 w 137"/>
                    <a:gd name="T1" fmla="*/ 1 h 211"/>
                    <a:gd name="T2" fmla="*/ 1 w 137"/>
                    <a:gd name="T3" fmla="*/ 5 h 211"/>
                    <a:gd name="T4" fmla="*/ 3 w 137"/>
                    <a:gd name="T5" fmla="*/ 3 h 211"/>
                    <a:gd name="T6" fmla="*/ 3 w 137"/>
                    <a:gd name="T7" fmla="*/ 3 h 211"/>
                    <a:gd name="T8" fmla="*/ 3 w 137"/>
                    <a:gd name="T9" fmla="*/ 2 h 211"/>
                    <a:gd name="T10" fmla="*/ 3 w 137"/>
                    <a:gd name="T11" fmla="*/ 1 h 211"/>
                    <a:gd name="T12" fmla="*/ 1 w 137"/>
                    <a:gd name="T13" fmla="*/ 0 h 211"/>
                    <a:gd name="T14" fmla="*/ 0 w 137"/>
                    <a:gd name="T15" fmla="*/ 1 h 211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37"/>
                    <a:gd name="T25" fmla="*/ 0 h 211"/>
                    <a:gd name="T26" fmla="*/ 137 w 137"/>
                    <a:gd name="T27" fmla="*/ 211 h 211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37" h="211">
                      <a:moveTo>
                        <a:pt x="0" y="42"/>
                      </a:moveTo>
                      <a:lnTo>
                        <a:pt x="29" y="211"/>
                      </a:lnTo>
                      <a:lnTo>
                        <a:pt x="125" y="147"/>
                      </a:lnTo>
                      <a:lnTo>
                        <a:pt x="108" y="116"/>
                      </a:lnTo>
                      <a:lnTo>
                        <a:pt x="137" y="79"/>
                      </a:lnTo>
                      <a:lnTo>
                        <a:pt x="137" y="32"/>
                      </a:lnTo>
                      <a:lnTo>
                        <a:pt x="67" y="0"/>
                      </a:lnTo>
                      <a:lnTo>
                        <a:pt x="0" y="4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7" name="Freeform 430"/>
                <p:cNvSpPr/>
                <p:nvPr/>
              </p:nvSpPr>
              <p:spPr bwMode="auto">
                <a:xfrm>
                  <a:off x="1501468" y="2927779"/>
                  <a:ext cx="171842" cy="146388"/>
                </a:xfrm>
                <a:custGeom>
                  <a:avLst/>
                  <a:gdLst>
                    <a:gd name="T0" fmla="*/ 0 w 356"/>
                    <a:gd name="T1" fmla="*/ 2 h 323"/>
                    <a:gd name="T2" fmla="*/ 0 w 356"/>
                    <a:gd name="T3" fmla="*/ 1 h 323"/>
                    <a:gd name="T4" fmla="*/ 2 w 356"/>
                    <a:gd name="T5" fmla="*/ 0 h 323"/>
                    <a:gd name="T6" fmla="*/ 4 w 356"/>
                    <a:gd name="T7" fmla="*/ 1 h 323"/>
                    <a:gd name="T8" fmla="*/ 6 w 356"/>
                    <a:gd name="T9" fmla="*/ 1 h 323"/>
                    <a:gd name="T10" fmla="*/ 8 w 356"/>
                    <a:gd name="T11" fmla="*/ 3 h 323"/>
                    <a:gd name="T12" fmla="*/ 8 w 356"/>
                    <a:gd name="T13" fmla="*/ 6 h 323"/>
                    <a:gd name="T14" fmla="*/ 8 w 356"/>
                    <a:gd name="T15" fmla="*/ 7 h 323"/>
                    <a:gd name="T16" fmla="*/ 7 w 356"/>
                    <a:gd name="T17" fmla="*/ 7 h 323"/>
                    <a:gd name="T18" fmla="*/ 6 w 356"/>
                    <a:gd name="T19" fmla="*/ 5 h 323"/>
                    <a:gd name="T20" fmla="*/ 5 w 356"/>
                    <a:gd name="T21" fmla="*/ 6 h 323"/>
                    <a:gd name="T22" fmla="*/ 2 w 356"/>
                    <a:gd name="T23" fmla="*/ 4 h 323"/>
                    <a:gd name="T24" fmla="*/ 1 w 356"/>
                    <a:gd name="T25" fmla="*/ 2 h 323"/>
                    <a:gd name="T26" fmla="*/ 0 w 356"/>
                    <a:gd name="T27" fmla="*/ 3 h 323"/>
                    <a:gd name="T28" fmla="*/ 0 w 356"/>
                    <a:gd name="T29" fmla="*/ 2 h 323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356"/>
                    <a:gd name="T46" fmla="*/ 0 h 323"/>
                    <a:gd name="T47" fmla="*/ 356 w 356"/>
                    <a:gd name="T48" fmla="*/ 323 h 323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356" h="323">
                      <a:moveTo>
                        <a:pt x="0" y="76"/>
                      </a:moveTo>
                      <a:lnTo>
                        <a:pt x="0" y="23"/>
                      </a:lnTo>
                      <a:lnTo>
                        <a:pt x="91" y="0"/>
                      </a:lnTo>
                      <a:lnTo>
                        <a:pt x="164" y="64"/>
                      </a:lnTo>
                      <a:lnTo>
                        <a:pt x="245" y="46"/>
                      </a:lnTo>
                      <a:lnTo>
                        <a:pt x="345" y="146"/>
                      </a:lnTo>
                      <a:lnTo>
                        <a:pt x="332" y="253"/>
                      </a:lnTo>
                      <a:lnTo>
                        <a:pt x="356" y="299"/>
                      </a:lnTo>
                      <a:lnTo>
                        <a:pt x="281" y="323"/>
                      </a:lnTo>
                      <a:lnTo>
                        <a:pt x="243" y="235"/>
                      </a:lnTo>
                      <a:lnTo>
                        <a:pt x="211" y="272"/>
                      </a:lnTo>
                      <a:lnTo>
                        <a:pt x="91" y="183"/>
                      </a:lnTo>
                      <a:lnTo>
                        <a:pt x="33" y="89"/>
                      </a:lnTo>
                      <a:lnTo>
                        <a:pt x="2" y="110"/>
                      </a:lnTo>
                      <a:lnTo>
                        <a:pt x="0" y="7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8" name="Freeform 431"/>
                <p:cNvSpPr/>
                <p:nvPr/>
              </p:nvSpPr>
              <p:spPr bwMode="auto">
                <a:xfrm>
                  <a:off x="1461035" y="4054333"/>
                  <a:ext cx="234177" cy="249815"/>
                </a:xfrm>
                <a:custGeom>
                  <a:avLst/>
                  <a:gdLst>
                    <a:gd name="T0" fmla="*/ 0 w 485"/>
                    <a:gd name="T1" fmla="*/ 12 h 550"/>
                    <a:gd name="T2" fmla="*/ 1 w 485"/>
                    <a:gd name="T3" fmla="*/ 12 h 550"/>
                    <a:gd name="T4" fmla="*/ 9 w 485"/>
                    <a:gd name="T5" fmla="*/ 13 h 550"/>
                    <a:gd name="T6" fmla="*/ 11 w 485"/>
                    <a:gd name="T7" fmla="*/ 12 h 550"/>
                    <a:gd name="T8" fmla="*/ 9 w 485"/>
                    <a:gd name="T9" fmla="*/ 11 h 550"/>
                    <a:gd name="T10" fmla="*/ 9 w 485"/>
                    <a:gd name="T11" fmla="*/ 7 h 550"/>
                    <a:gd name="T12" fmla="*/ 11 w 485"/>
                    <a:gd name="T13" fmla="*/ 7 h 550"/>
                    <a:gd name="T14" fmla="*/ 11 w 485"/>
                    <a:gd name="T15" fmla="*/ 5 h 550"/>
                    <a:gd name="T16" fmla="*/ 9 w 485"/>
                    <a:gd name="T17" fmla="*/ 5 h 550"/>
                    <a:gd name="T18" fmla="*/ 9 w 485"/>
                    <a:gd name="T19" fmla="*/ 2 h 550"/>
                    <a:gd name="T20" fmla="*/ 8 w 485"/>
                    <a:gd name="T21" fmla="*/ 1 h 550"/>
                    <a:gd name="T22" fmla="*/ 7 w 485"/>
                    <a:gd name="T23" fmla="*/ 1 h 550"/>
                    <a:gd name="T24" fmla="*/ 7 w 485"/>
                    <a:gd name="T25" fmla="*/ 2 h 550"/>
                    <a:gd name="T26" fmla="*/ 5 w 485"/>
                    <a:gd name="T27" fmla="*/ 2 h 550"/>
                    <a:gd name="T28" fmla="*/ 4 w 485"/>
                    <a:gd name="T29" fmla="*/ 0 h 550"/>
                    <a:gd name="T30" fmla="*/ 1 w 485"/>
                    <a:gd name="T31" fmla="*/ 1 h 550"/>
                    <a:gd name="T32" fmla="*/ 2 w 485"/>
                    <a:gd name="T33" fmla="*/ 5 h 550"/>
                    <a:gd name="T34" fmla="*/ 0 w 485"/>
                    <a:gd name="T35" fmla="*/ 12 h 55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485"/>
                    <a:gd name="T55" fmla="*/ 0 h 550"/>
                    <a:gd name="T56" fmla="*/ 485 w 485"/>
                    <a:gd name="T57" fmla="*/ 550 h 55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485" h="550">
                      <a:moveTo>
                        <a:pt x="0" y="515"/>
                      </a:moveTo>
                      <a:lnTo>
                        <a:pt x="63" y="496"/>
                      </a:lnTo>
                      <a:lnTo>
                        <a:pt x="376" y="550"/>
                      </a:lnTo>
                      <a:lnTo>
                        <a:pt x="446" y="524"/>
                      </a:lnTo>
                      <a:lnTo>
                        <a:pt x="399" y="484"/>
                      </a:lnTo>
                      <a:lnTo>
                        <a:pt x="399" y="317"/>
                      </a:lnTo>
                      <a:lnTo>
                        <a:pt x="485" y="317"/>
                      </a:lnTo>
                      <a:lnTo>
                        <a:pt x="480" y="227"/>
                      </a:lnTo>
                      <a:lnTo>
                        <a:pt x="399" y="236"/>
                      </a:lnTo>
                      <a:lnTo>
                        <a:pt x="391" y="77"/>
                      </a:lnTo>
                      <a:lnTo>
                        <a:pt x="356" y="48"/>
                      </a:lnTo>
                      <a:lnTo>
                        <a:pt x="305" y="52"/>
                      </a:lnTo>
                      <a:lnTo>
                        <a:pt x="294" y="96"/>
                      </a:lnTo>
                      <a:lnTo>
                        <a:pt x="239" y="102"/>
                      </a:lnTo>
                      <a:lnTo>
                        <a:pt x="179" y="0"/>
                      </a:lnTo>
                      <a:lnTo>
                        <a:pt x="34" y="23"/>
                      </a:lnTo>
                      <a:lnTo>
                        <a:pt x="86" y="231"/>
                      </a:lnTo>
                      <a:lnTo>
                        <a:pt x="0" y="51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9" name="Freeform 432"/>
                <p:cNvSpPr/>
                <p:nvPr/>
              </p:nvSpPr>
              <p:spPr bwMode="auto">
                <a:xfrm>
                  <a:off x="1467773" y="4033648"/>
                  <a:ext cx="18532" cy="20685"/>
                </a:xfrm>
                <a:custGeom>
                  <a:avLst/>
                  <a:gdLst>
                    <a:gd name="T0" fmla="*/ 0 w 40"/>
                    <a:gd name="T1" fmla="*/ 0 h 48"/>
                    <a:gd name="T2" fmla="*/ 0 w 40"/>
                    <a:gd name="T3" fmla="*/ 1 h 48"/>
                    <a:gd name="T4" fmla="*/ 1 w 40"/>
                    <a:gd name="T5" fmla="*/ 0 h 48"/>
                    <a:gd name="T6" fmla="*/ 0 w 40"/>
                    <a:gd name="T7" fmla="*/ 0 h 4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0"/>
                    <a:gd name="T13" fmla="*/ 0 h 48"/>
                    <a:gd name="T14" fmla="*/ 40 w 40"/>
                    <a:gd name="T15" fmla="*/ 48 h 4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0" h="48">
                      <a:moveTo>
                        <a:pt x="0" y="16"/>
                      </a:moveTo>
                      <a:lnTo>
                        <a:pt x="18" y="48"/>
                      </a:lnTo>
                      <a:lnTo>
                        <a:pt x="40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0" name="Freeform 433"/>
                <p:cNvSpPr/>
                <p:nvPr/>
              </p:nvSpPr>
              <p:spPr bwMode="auto">
                <a:xfrm>
                  <a:off x="1614344" y="4297784"/>
                  <a:ext cx="171842" cy="186168"/>
                </a:xfrm>
                <a:custGeom>
                  <a:avLst/>
                  <a:gdLst>
                    <a:gd name="T0" fmla="*/ 0 w 358"/>
                    <a:gd name="T1" fmla="*/ 7 h 410"/>
                    <a:gd name="T2" fmla="*/ 0 w 358"/>
                    <a:gd name="T3" fmla="*/ 5 h 410"/>
                    <a:gd name="T4" fmla="*/ 1 w 358"/>
                    <a:gd name="T5" fmla="*/ 4 h 410"/>
                    <a:gd name="T6" fmla="*/ 1 w 358"/>
                    <a:gd name="T7" fmla="*/ 1 h 410"/>
                    <a:gd name="T8" fmla="*/ 3 w 358"/>
                    <a:gd name="T9" fmla="*/ 0 h 410"/>
                    <a:gd name="T10" fmla="*/ 3 w 358"/>
                    <a:gd name="T11" fmla="*/ 1 h 410"/>
                    <a:gd name="T12" fmla="*/ 5 w 358"/>
                    <a:gd name="T13" fmla="*/ 0 h 410"/>
                    <a:gd name="T14" fmla="*/ 7 w 358"/>
                    <a:gd name="T15" fmla="*/ 4 h 410"/>
                    <a:gd name="T16" fmla="*/ 8 w 358"/>
                    <a:gd name="T17" fmla="*/ 5 h 410"/>
                    <a:gd name="T18" fmla="*/ 5 w 358"/>
                    <a:gd name="T19" fmla="*/ 8 h 410"/>
                    <a:gd name="T20" fmla="*/ 3 w 358"/>
                    <a:gd name="T21" fmla="*/ 8 h 410"/>
                    <a:gd name="T22" fmla="*/ 2 w 358"/>
                    <a:gd name="T23" fmla="*/ 9 h 410"/>
                    <a:gd name="T24" fmla="*/ 1 w 358"/>
                    <a:gd name="T25" fmla="*/ 9 h 410"/>
                    <a:gd name="T26" fmla="*/ 1 w 358"/>
                    <a:gd name="T27" fmla="*/ 8 h 410"/>
                    <a:gd name="T28" fmla="*/ 0 w 358"/>
                    <a:gd name="T29" fmla="*/ 7 h 410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358"/>
                    <a:gd name="T46" fmla="*/ 0 h 410"/>
                    <a:gd name="T47" fmla="*/ 358 w 358"/>
                    <a:gd name="T48" fmla="*/ 410 h 410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358" h="410">
                      <a:moveTo>
                        <a:pt x="0" y="314"/>
                      </a:moveTo>
                      <a:lnTo>
                        <a:pt x="0" y="191"/>
                      </a:lnTo>
                      <a:lnTo>
                        <a:pt x="40" y="188"/>
                      </a:lnTo>
                      <a:lnTo>
                        <a:pt x="40" y="30"/>
                      </a:lnTo>
                      <a:lnTo>
                        <a:pt x="115" y="12"/>
                      </a:lnTo>
                      <a:lnTo>
                        <a:pt x="138" y="39"/>
                      </a:lnTo>
                      <a:lnTo>
                        <a:pt x="201" y="0"/>
                      </a:lnTo>
                      <a:lnTo>
                        <a:pt x="306" y="169"/>
                      </a:lnTo>
                      <a:lnTo>
                        <a:pt x="358" y="197"/>
                      </a:lnTo>
                      <a:lnTo>
                        <a:pt x="216" y="353"/>
                      </a:lnTo>
                      <a:lnTo>
                        <a:pt x="131" y="353"/>
                      </a:lnTo>
                      <a:lnTo>
                        <a:pt x="86" y="408"/>
                      </a:lnTo>
                      <a:lnTo>
                        <a:pt x="32" y="410"/>
                      </a:lnTo>
                      <a:lnTo>
                        <a:pt x="34" y="360"/>
                      </a:lnTo>
                      <a:lnTo>
                        <a:pt x="0" y="314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1" name="Freeform 434"/>
                <p:cNvSpPr/>
                <p:nvPr/>
              </p:nvSpPr>
              <p:spPr bwMode="auto">
                <a:xfrm>
                  <a:off x="1782817" y="3985913"/>
                  <a:ext cx="32010" cy="38188"/>
                </a:xfrm>
                <a:custGeom>
                  <a:avLst/>
                  <a:gdLst>
                    <a:gd name="T0" fmla="*/ 0 w 69"/>
                    <a:gd name="T1" fmla="*/ 0 h 88"/>
                    <a:gd name="T2" fmla="*/ 0 w 69"/>
                    <a:gd name="T3" fmla="*/ 1 h 88"/>
                    <a:gd name="T4" fmla="*/ 1 w 69"/>
                    <a:gd name="T5" fmla="*/ 2 h 88"/>
                    <a:gd name="T6" fmla="*/ 1 w 69"/>
                    <a:gd name="T7" fmla="*/ 1 h 88"/>
                    <a:gd name="T8" fmla="*/ 1 w 69"/>
                    <a:gd name="T9" fmla="*/ 0 h 88"/>
                    <a:gd name="T10" fmla="*/ 0 w 69"/>
                    <a:gd name="T11" fmla="*/ 0 h 8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69"/>
                    <a:gd name="T19" fmla="*/ 0 h 88"/>
                    <a:gd name="T20" fmla="*/ 69 w 69"/>
                    <a:gd name="T21" fmla="*/ 88 h 8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69" h="88">
                      <a:moveTo>
                        <a:pt x="0" y="15"/>
                      </a:moveTo>
                      <a:lnTo>
                        <a:pt x="8" y="45"/>
                      </a:lnTo>
                      <a:lnTo>
                        <a:pt x="27" y="88"/>
                      </a:lnTo>
                      <a:lnTo>
                        <a:pt x="69" y="35"/>
                      </a:lnTo>
                      <a:lnTo>
                        <a:pt x="66" y="0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2" name="Freeform 435"/>
                <p:cNvSpPr/>
                <p:nvPr/>
              </p:nvSpPr>
              <p:spPr bwMode="auto">
                <a:xfrm>
                  <a:off x="1405439" y="3683589"/>
                  <a:ext cx="139832" cy="225947"/>
                </a:xfrm>
                <a:custGeom>
                  <a:avLst/>
                  <a:gdLst>
                    <a:gd name="T0" fmla="*/ 0 w 294"/>
                    <a:gd name="T1" fmla="*/ 8 h 498"/>
                    <a:gd name="T2" fmla="*/ 1 w 294"/>
                    <a:gd name="T3" fmla="*/ 6 h 498"/>
                    <a:gd name="T4" fmla="*/ 3 w 294"/>
                    <a:gd name="T5" fmla="*/ 6 h 498"/>
                    <a:gd name="T6" fmla="*/ 4 w 294"/>
                    <a:gd name="T7" fmla="*/ 2 h 498"/>
                    <a:gd name="T8" fmla="*/ 5 w 294"/>
                    <a:gd name="T9" fmla="*/ 1 h 498"/>
                    <a:gd name="T10" fmla="*/ 5 w 294"/>
                    <a:gd name="T11" fmla="*/ 0 h 498"/>
                    <a:gd name="T12" fmla="*/ 5 w 294"/>
                    <a:gd name="T13" fmla="*/ 0 h 498"/>
                    <a:gd name="T14" fmla="*/ 6 w 294"/>
                    <a:gd name="T15" fmla="*/ 3 h 498"/>
                    <a:gd name="T16" fmla="*/ 5 w 294"/>
                    <a:gd name="T17" fmla="*/ 3 h 498"/>
                    <a:gd name="T18" fmla="*/ 6 w 294"/>
                    <a:gd name="T19" fmla="*/ 5 h 498"/>
                    <a:gd name="T20" fmla="*/ 5 w 294"/>
                    <a:gd name="T21" fmla="*/ 8 h 498"/>
                    <a:gd name="T22" fmla="*/ 6 w 294"/>
                    <a:gd name="T23" fmla="*/ 10 h 498"/>
                    <a:gd name="T24" fmla="*/ 6 w 294"/>
                    <a:gd name="T25" fmla="*/ 11 h 498"/>
                    <a:gd name="T26" fmla="*/ 4 w 294"/>
                    <a:gd name="T27" fmla="*/ 11 h 498"/>
                    <a:gd name="T28" fmla="*/ 2 w 294"/>
                    <a:gd name="T29" fmla="*/ 11 h 498"/>
                    <a:gd name="T30" fmla="*/ 1 w 294"/>
                    <a:gd name="T31" fmla="*/ 11 h 498"/>
                    <a:gd name="T32" fmla="*/ 1 w 294"/>
                    <a:gd name="T33" fmla="*/ 9 h 498"/>
                    <a:gd name="T34" fmla="*/ 0 w 294"/>
                    <a:gd name="T35" fmla="*/ 8 h 498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294"/>
                    <a:gd name="T55" fmla="*/ 0 h 498"/>
                    <a:gd name="T56" fmla="*/ 294 w 294"/>
                    <a:gd name="T57" fmla="*/ 498 h 498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294" h="498">
                      <a:moveTo>
                        <a:pt x="0" y="355"/>
                      </a:moveTo>
                      <a:lnTo>
                        <a:pt x="38" y="263"/>
                      </a:lnTo>
                      <a:lnTo>
                        <a:pt x="109" y="275"/>
                      </a:lnTo>
                      <a:lnTo>
                        <a:pt x="192" y="81"/>
                      </a:lnTo>
                      <a:lnTo>
                        <a:pt x="231" y="46"/>
                      </a:lnTo>
                      <a:lnTo>
                        <a:pt x="214" y="8"/>
                      </a:lnTo>
                      <a:lnTo>
                        <a:pt x="235" y="0"/>
                      </a:lnTo>
                      <a:lnTo>
                        <a:pt x="260" y="123"/>
                      </a:lnTo>
                      <a:lnTo>
                        <a:pt x="214" y="142"/>
                      </a:lnTo>
                      <a:lnTo>
                        <a:pt x="265" y="238"/>
                      </a:lnTo>
                      <a:lnTo>
                        <a:pt x="235" y="352"/>
                      </a:lnTo>
                      <a:lnTo>
                        <a:pt x="294" y="437"/>
                      </a:lnTo>
                      <a:lnTo>
                        <a:pt x="287" y="498"/>
                      </a:lnTo>
                      <a:lnTo>
                        <a:pt x="185" y="471"/>
                      </a:lnTo>
                      <a:lnTo>
                        <a:pt x="107" y="470"/>
                      </a:lnTo>
                      <a:lnTo>
                        <a:pt x="45" y="471"/>
                      </a:lnTo>
                      <a:lnTo>
                        <a:pt x="44" y="388"/>
                      </a:lnTo>
                      <a:lnTo>
                        <a:pt x="0" y="35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3" name="Freeform 436"/>
                <p:cNvSpPr/>
                <p:nvPr/>
              </p:nvSpPr>
              <p:spPr bwMode="auto">
                <a:xfrm>
                  <a:off x="1516630" y="3718595"/>
                  <a:ext cx="239231" cy="162300"/>
                </a:xfrm>
                <a:custGeom>
                  <a:avLst/>
                  <a:gdLst>
                    <a:gd name="T0" fmla="*/ 0 w 497"/>
                    <a:gd name="T1" fmla="*/ 6 h 357"/>
                    <a:gd name="T2" fmla="*/ 1 w 497"/>
                    <a:gd name="T3" fmla="*/ 4 h 357"/>
                    <a:gd name="T4" fmla="*/ 4 w 497"/>
                    <a:gd name="T5" fmla="*/ 3 h 357"/>
                    <a:gd name="T6" fmla="*/ 4 w 497"/>
                    <a:gd name="T7" fmla="*/ 2 h 357"/>
                    <a:gd name="T8" fmla="*/ 5 w 497"/>
                    <a:gd name="T9" fmla="*/ 2 h 357"/>
                    <a:gd name="T10" fmla="*/ 7 w 497"/>
                    <a:gd name="T11" fmla="*/ 0 h 357"/>
                    <a:gd name="T12" fmla="*/ 8 w 497"/>
                    <a:gd name="T13" fmla="*/ 2 h 357"/>
                    <a:gd name="T14" fmla="*/ 9 w 497"/>
                    <a:gd name="T15" fmla="*/ 3 h 357"/>
                    <a:gd name="T16" fmla="*/ 12 w 497"/>
                    <a:gd name="T17" fmla="*/ 6 h 357"/>
                    <a:gd name="T18" fmla="*/ 6 w 497"/>
                    <a:gd name="T19" fmla="*/ 7 h 357"/>
                    <a:gd name="T20" fmla="*/ 4 w 497"/>
                    <a:gd name="T21" fmla="*/ 6 h 357"/>
                    <a:gd name="T22" fmla="*/ 4 w 497"/>
                    <a:gd name="T23" fmla="*/ 7 h 357"/>
                    <a:gd name="T24" fmla="*/ 2 w 497"/>
                    <a:gd name="T25" fmla="*/ 7 h 357"/>
                    <a:gd name="T26" fmla="*/ 1 w 497"/>
                    <a:gd name="T27" fmla="*/ 8 h 357"/>
                    <a:gd name="T28" fmla="*/ 0 w 497"/>
                    <a:gd name="T29" fmla="*/ 6 h 35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97"/>
                    <a:gd name="T46" fmla="*/ 0 h 357"/>
                    <a:gd name="T47" fmla="*/ 497 w 497"/>
                    <a:gd name="T48" fmla="*/ 357 h 357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97" h="357">
                      <a:moveTo>
                        <a:pt x="0" y="272"/>
                      </a:moveTo>
                      <a:lnTo>
                        <a:pt x="30" y="158"/>
                      </a:lnTo>
                      <a:lnTo>
                        <a:pt x="157" y="130"/>
                      </a:lnTo>
                      <a:lnTo>
                        <a:pt x="169" y="93"/>
                      </a:lnTo>
                      <a:lnTo>
                        <a:pt x="226" y="80"/>
                      </a:lnTo>
                      <a:lnTo>
                        <a:pt x="311" y="0"/>
                      </a:lnTo>
                      <a:lnTo>
                        <a:pt x="340" y="95"/>
                      </a:lnTo>
                      <a:lnTo>
                        <a:pt x="405" y="130"/>
                      </a:lnTo>
                      <a:lnTo>
                        <a:pt x="497" y="258"/>
                      </a:lnTo>
                      <a:lnTo>
                        <a:pt x="266" y="295"/>
                      </a:lnTo>
                      <a:lnTo>
                        <a:pt x="188" y="258"/>
                      </a:lnTo>
                      <a:lnTo>
                        <a:pt x="157" y="322"/>
                      </a:lnTo>
                      <a:lnTo>
                        <a:pt x="91" y="322"/>
                      </a:lnTo>
                      <a:lnTo>
                        <a:pt x="59" y="357"/>
                      </a:lnTo>
                      <a:lnTo>
                        <a:pt x="0" y="27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4" name="Freeform 437"/>
                <p:cNvSpPr/>
                <p:nvPr/>
              </p:nvSpPr>
              <p:spPr bwMode="auto">
                <a:xfrm>
                  <a:off x="1496414" y="3462415"/>
                  <a:ext cx="195428" cy="327783"/>
                </a:xfrm>
                <a:custGeom>
                  <a:avLst/>
                  <a:gdLst>
                    <a:gd name="T0" fmla="*/ 0 w 409"/>
                    <a:gd name="T1" fmla="*/ 10 h 725"/>
                    <a:gd name="T2" fmla="*/ 1 w 409"/>
                    <a:gd name="T3" fmla="*/ 10 h 725"/>
                    <a:gd name="T4" fmla="*/ 1 w 409"/>
                    <a:gd name="T5" fmla="*/ 11 h 725"/>
                    <a:gd name="T6" fmla="*/ 2 w 409"/>
                    <a:gd name="T7" fmla="*/ 14 h 725"/>
                    <a:gd name="T8" fmla="*/ 1 w 409"/>
                    <a:gd name="T9" fmla="*/ 14 h 725"/>
                    <a:gd name="T10" fmla="*/ 2 w 409"/>
                    <a:gd name="T11" fmla="*/ 17 h 725"/>
                    <a:gd name="T12" fmla="*/ 5 w 409"/>
                    <a:gd name="T13" fmla="*/ 16 h 725"/>
                    <a:gd name="T14" fmla="*/ 5 w 409"/>
                    <a:gd name="T15" fmla="*/ 15 h 725"/>
                    <a:gd name="T16" fmla="*/ 6 w 409"/>
                    <a:gd name="T17" fmla="*/ 15 h 725"/>
                    <a:gd name="T18" fmla="*/ 8 w 409"/>
                    <a:gd name="T19" fmla="*/ 13 h 725"/>
                    <a:gd name="T20" fmla="*/ 7 w 409"/>
                    <a:gd name="T21" fmla="*/ 11 h 725"/>
                    <a:gd name="T22" fmla="*/ 8 w 409"/>
                    <a:gd name="T23" fmla="*/ 8 h 725"/>
                    <a:gd name="T24" fmla="*/ 9 w 409"/>
                    <a:gd name="T25" fmla="*/ 8 h 725"/>
                    <a:gd name="T26" fmla="*/ 9 w 409"/>
                    <a:gd name="T27" fmla="*/ 4 h 725"/>
                    <a:gd name="T28" fmla="*/ 2 w 409"/>
                    <a:gd name="T29" fmla="*/ 0 h 725"/>
                    <a:gd name="T30" fmla="*/ 1 w 409"/>
                    <a:gd name="T31" fmla="*/ 1 h 725"/>
                    <a:gd name="T32" fmla="*/ 1 w 409"/>
                    <a:gd name="T33" fmla="*/ 2 h 725"/>
                    <a:gd name="T34" fmla="*/ 2 w 409"/>
                    <a:gd name="T35" fmla="*/ 3 h 725"/>
                    <a:gd name="T36" fmla="*/ 2 w 409"/>
                    <a:gd name="T37" fmla="*/ 7 h 725"/>
                    <a:gd name="T38" fmla="*/ 0 w 409"/>
                    <a:gd name="T39" fmla="*/ 10 h 725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409"/>
                    <a:gd name="T61" fmla="*/ 0 h 725"/>
                    <a:gd name="T62" fmla="*/ 409 w 409"/>
                    <a:gd name="T63" fmla="*/ 725 h 725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409" h="725">
                      <a:moveTo>
                        <a:pt x="0" y="416"/>
                      </a:moveTo>
                      <a:lnTo>
                        <a:pt x="60" y="451"/>
                      </a:lnTo>
                      <a:lnTo>
                        <a:pt x="45" y="487"/>
                      </a:lnTo>
                      <a:lnTo>
                        <a:pt x="70" y="610"/>
                      </a:lnTo>
                      <a:lnTo>
                        <a:pt x="24" y="629"/>
                      </a:lnTo>
                      <a:lnTo>
                        <a:pt x="75" y="725"/>
                      </a:lnTo>
                      <a:lnTo>
                        <a:pt x="202" y="697"/>
                      </a:lnTo>
                      <a:lnTo>
                        <a:pt x="214" y="660"/>
                      </a:lnTo>
                      <a:lnTo>
                        <a:pt x="271" y="647"/>
                      </a:lnTo>
                      <a:lnTo>
                        <a:pt x="356" y="567"/>
                      </a:lnTo>
                      <a:lnTo>
                        <a:pt x="326" y="478"/>
                      </a:lnTo>
                      <a:lnTo>
                        <a:pt x="368" y="361"/>
                      </a:lnTo>
                      <a:lnTo>
                        <a:pt x="408" y="352"/>
                      </a:lnTo>
                      <a:lnTo>
                        <a:pt x="409" y="184"/>
                      </a:lnTo>
                      <a:lnTo>
                        <a:pt x="103" y="0"/>
                      </a:lnTo>
                      <a:lnTo>
                        <a:pt x="64" y="21"/>
                      </a:lnTo>
                      <a:lnTo>
                        <a:pt x="64" y="90"/>
                      </a:lnTo>
                      <a:lnTo>
                        <a:pt x="103" y="140"/>
                      </a:lnTo>
                      <a:lnTo>
                        <a:pt x="75" y="298"/>
                      </a:lnTo>
                      <a:lnTo>
                        <a:pt x="0" y="41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5" name="Freeform 438"/>
                <p:cNvSpPr/>
                <p:nvPr/>
              </p:nvSpPr>
              <p:spPr bwMode="auto">
                <a:xfrm>
                  <a:off x="1454296" y="3864983"/>
                  <a:ext cx="138147" cy="175030"/>
                </a:xfrm>
                <a:custGeom>
                  <a:avLst/>
                  <a:gdLst>
                    <a:gd name="T0" fmla="*/ 0 w 289"/>
                    <a:gd name="T1" fmla="*/ 8 h 385"/>
                    <a:gd name="T2" fmla="*/ 1 w 289"/>
                    <a:gd name="T3" fmla="*/ 9 h 385"/>
                    <a:gd name="T4" fmla="*/ 2 w 289"/>
                    <a:gd name="T5" fmla="*/ 9 h 385"/>
                    <a:gd name="T6" fmla="*/ 3 w 289"/>
                    <a:gd name="T7" fmla="*/ 9 h 385"/>
                    <a:gd name="T8" fmla="*/ 4 w 289"/>
                    <a:gd name="T9" fmla="*/ 8 h 385"/>
                    <a:gd name="T10" fmla="*/ 5 w 289"/>
                    <a:gd name="T11" fmla="*/ 6 h 385"/>
                    <a:gd name="T12" fmla="*/ 6 w 289"/>
                    <a:gd name="T13" fmla="*/ 5 h 385"/>
                    <a:gd name="T14" fmla="*/ 7 w 289"/>
                    <a:gd name="T15" fmla="*/ 0 h 385"/>
                    <a:gd name="T16" fmla="*/ 5 w 289"/>
                    <a:gd name="T17" fmla="*/ 0 h 385"/>
                    <a:gd name="T18" fmla="*/ 4 w 289"/>
                    <a:gd name="T19" fmla="*/ 1 h 385"/>
                    <a:gd name="T20" fmla="*/ 4 w 289"/>
                    <a:gd name="T21" fmla="*/ 2 h 385"/>
                    <a:gd name="T22" fmla="*/ 2 w 289"/>
                    <a:gd name="T23" fmla="*/ 2 h 385"/>
                    <a:gd name="T24" fmla="*/ 2 w 289"/>
                    <a:gd name="T25" fmla="*/ 3 h 385"/>
                    <a:gd name="T26" fmla="*/ 3 w 289"/>
                    <a:gd name="T27" fmla="*/ 3 h 385"/>
                    <a:gd name="T28" fmla="*/ 3 w 289"/>
                    <a:gd name="T29" fmla="*/ 6 h 385"/>
                    <a:gd name="T30" fmla="*/ 1 w 289"/>
                    <a:gd name="T31" fmla="*/ 6 h 385"/>
                    <a:gd name="T32" fmla="*/ 0 w 289"/>
                    <a:gd name="T33" fmla="*/ 8 h 38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289"/>
                    <a:gd name="T52" fmla="*/ 0 h 385"/>
                    <a:gd name="T53" fmla="*/ 289 w 289"/>
                    <a:gd name="T54" fmla="*/ 385 h 385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289" h="385">
                      <a:moveTo>
                        <a:pt x="0" y="335"/>
                      </a:moveTo>
                      <a:lnTo>
                        <a:pt x="30" y="385"/>
                      </a:lnTo>
                      <a:lnTo>
                        <a:pt x="70" y="369"/>
                      </a:lnTo>
                      <a:lnTo>
                        <a:pt x="130" y="372"/>
                      </a:lnTo>
                      <a:lnTo>
                        <a:pt x="183" y="333"/>
                      </a:lnTo>
                      <a:lnTo>
                        <a:pt x="199" y="257"/>
                      </a:lnTo>
                      <a:lnTo>
                        <a:pt x="251" y="192"/>
                      </a:lnTo>
                      <a:lnTo>
                        <a:pt x="289" y="0"/>
                      </a:lnTo>
                      <a:lnTo>
                        <a:pt x="223" y="0"/>
                      </a:lnTo>
                      <a:lnTo>
                        <a:pt x="191" y="35"/>
                      </a:lnTo>
                      <a:lnTo>
                        <a:pt x="184" y="96"/>
                      </a:lnTo>
                      <a:lnTo>
                        <a:pt x="82" y="69"/>
                      </a:lnTo>
                      <a:lnTo>
                        <a:pt x="78" y="110"/>
                      </a:lnTo>
                      <a:lnTo>
                        <a:pt x="121" y="111"/>
                      </a:lnTo>
                      <a:lnTo>
                        <a:pt x="107" y="264"/>
                      </a:lnTo>
                      <a:lnTo>
                        <a:pt x="59" y="246"/>
                      </a:lnTo>
                      <a:lnTo>
                        <a:pt x="0" y="33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6" name="Freeform 439"/>
                <p:cNvSpPr/>
                <p:nvPr/>
              </p:nvSpPr>
              <p:spPr bwMode="auto">
                <a:xfrm>
                  <a:off x="1476197" y="3836342"/>
                  <a:ext cx="347053" cy="367562"/>
                </a:xfrm>
                <a:custGeom>
                  <a:avLst/>
                  <a:gdLst>
                    <a:gd name="T0" fmla="*/ 0 w 722"/>
                    <a:gd name="T1" fmla="*/ 11 h 811"/>
                    <a:gd name="T2" fmla="*/ 0 w 722"/>
                    <a:gd name="T3" fmla="*/ 12 h 811"/>
                    <a:gd name="T4" fmla="*/ 3 w 722"/>
                    <a:gd name="T5" fmla="*/ 11 h 811"/>
                    <a:gd name="T6" fmla="*/ 5 w 722"/>
                    <a:gd name="T7" fmla="*/ 13 h 811"/>
                    <a:gd name="T8" fmla="*/ 6 w 722"/>
                    <a:gd name="T9" fmla="*/ 13 h 811"/>
                    <a:gd name="T10" fmla="*/ 6 w 722"/>
                    <a:gd name="T11" fmla="*/ 12 h 811"/>
                    <a:gd name="T12" fmla="*/ 7 w 722"/>
                    <a:gd name="T13" fmla="*/ 12 h 811"/>
                    <a:gd name="T14" fmla="*/ 8 w 722"/>
                    <a:gd name="T15" fmla="*/ 13 h 811"/>
                    <a:gd name="T16" fmla="*/ 9 w 722"/>
                    <a:gd name="T17" fmla="*/ 17 h 811"/>
                    <a:gd name="T18" fmla="*/ 11 w 722"/>
                    <a:gd name="T19" fmla="*/ 17 h 811"/>
                    <a:gd name="T20" fmla="*/ 15 w 722"/>
                    <a:gd name="T21" fmla="*/ 19 h 811"/>
                    <a:gd name="T22" fmla="*/ 15 w 722"/>
                    <a:gd name="T23" fmla="*/ 18 h 811"/>
                    <a:gd name="T24" fmla="*/ 15 w 722"/>
                    <a:gd name="T25" fmla="*/ 17 h 811"/>
                    <a:gd name="T26" fmla="*/ 15 w 722"/>
                    <a:gd name="T27" fmla="*/ 15 h 811"/>
                    <a:gd name="T28" fmla="*/ 16 w 722"/>
                    <a:gd name="T29" fmla="*/ 14 h 811"/>
                    <a:gd name="T30" fmla="*/ 15 w 722"/>
                    <a:gd name="T31" fmla="*/ 12 h 811"/>
                    <a:gd name="T32" fmla="*/ 15 w 722"/>
                    <a:gd name="T33" fmla="*/ 9 h 811"/>
                    <a:gd name="T34" fmla="*/ 15 w 722"/>
                    <a:gd name="T35" fmla="*/ 8 h 811"/>
                    <a:gd name="T36" fmla="*/ 15 w 722"/>
                    <a:gd name="T37" fmla="*/ 7 h 811"/>
                    <a:gd name="T38" fmla="*/ 16 w 722"/>
                    <a:gd name="T39" fmla="*/ 4 h 811"/>
                    <a:gd name="T40" fmla="*/ 17 w 722"/>
                    <a:gd name="T41" fmla="*/ 3 h 811"/>
                    <a:gd name="T42" fmla="*/ 17 w 722"/>
                    <a:gd name="T43" fmla="*/ 1 h 811"/>
                    <a:gd name="T44" fmla="*/ 13 w 722"/>
                    <a:gd name="T45" fmla="*/ 0 h 811"/>
                    <a:gd name="T46" fmla="*/ 8 w 722"/>
                    <a:gd name="T47" fmla="*/ 1 h 811"/>
                    <a:gd name="T48" fmla="*/ 6 w 722"/>
                    <a:gd name="T49" fmla="*/ 0 h 811"/>
                    <a:gd name="T50" fmla="*/ 6 w 722"/>
                    <a:gd name="T51" fmla="*/ 1 h 811"/>
                    <a:gd name="T52" fmla="*/ 5 w 722"/>
                    <a:gd name="T53" fmla="*/ 6 h 811"/>
                    <a:gd name="T54" fmla="*/ 3 w 722"/>
                    <a:gd name="T55" fmla="*/ 7 h 811"/>
                    <a:gd name="T56" fmla="*/ 3 w 722"/>
                    <a:gd name="T57" fmla="*/ 9 h 811"/>
                    <a:gd name="T58" fmla="*/ 2 w 722"/>
                    <a:gd name="T59" fmla="*/ 10 h 811"/>
                    <a:gd name="T60" fmla="*/ 1 w 722"/>
                    <a:gd name="T61" fmla="*/ 10 h 811"/>
                    <a:gd name="T62" fmla="*/ 0 w 722"/>
                    <a:gd name="T63" fmla="*/ 11 h 81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722"/>
                    <a:gd name="T97" fmla="*/ 0 h 811"/>
                    <a:gd name="T98" fmla="*/ 722 w 722"/>
                    <a:gd name="T99" fmla="*/ 811 h 81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722" h="811">
                      <a:moveTo>
                        <a:pt x="0" y="481"/>
                      </a:moveTo>
                      <a:lnTo>
                        <a:pt x="1" y="504"/>
                      </a:lnTo>
                      <a:lnTo>
                        <a:pt x="146" y="481"/>
                      </a:lnTo>
                      <a:lnTo>
                        <a:pt x="206" y="583"/>
                      </a:lnTo>
                      <a:lnTo>
                        <a:pt x="261" y="577"/>
                      </a:lnTo>
                      <a:lnTo>
                        <a:pt x="272" y="533"/>
                      </a:lnTo>
                      <a:lnTo>
                        <a:pt x="323" y="529"/>
                      </a:lnTo>
                      <a:lnTo>
                        <a:pt x="358" y="558"/>
                      </a:lnTo>
                      <a:lnTo>
                        <a:pt x="366" y="717"/>
                      </a:lnTo>
                      <a:lnTo>
                        <a:pt x="447" y="708"/>
                      </a:lnTo>
                      <a:lnTo>
                        <a:pt x="666" y="811"/>
                      </a:lnTo>
                      <a:lnTo>
                        <a:pt x="664" y="763"/>
                      </a:lnTo>
                      <a:lnTo>
                        <a:pt x="620" y="742"/>
                      </a:lnTo>
                      <a:lnTo>
                        <a:pt x="626" y="628"/>
                      </a:lnTo>
                      <a:lnTo>
                        <a:pt x="695" y="586"/>
                      </a:lnTo>
                      <a:lnTo>
                        <a:pt x="655" y="509"/>
                      </a:lnTo>
                      <a:lnTo>
                        <a:pt x="645" y="374"/>
                      </a:lnTo>
                      <a:lnTo>
                        <a:pt x="637" y="344"/>
                      </a:lnTo>
                      <a:lnTo>
                        <a:pt x="666" y="284"/>
                      </a:lnTo>
                      <a:lnTo>
                        <a:pt x="695" y="174"/>
                      </a:lnTo>
                      <a:lnTo>
                        <a:pt x="722" y="132"/>
                      </a:lnTo>
                      <a:lnTo>
                        <a:pt x="709" y="67"/>
                      </a:lnTo>
                      <a:lnTo>
                        <a:pt x="581" y="0"/>
                      </a:lnTo>
                      <a:lnTo>
                        <a:pt x="350" y="37"/>
                      </a:lnTo>
                      <a:lnTo>
                        <a:pt x="272" y="0"/>
                      </a:lnTo>
                      <a:lnTo>
                        <a:pt x="241" y="64"/>
                      </a:lnTo>
                      <a:lnTo>
                        <a:pt x="203" y="256"/>
                      </a:lnTo>
                      <a:lnTo>
                        <a:pt x="151" y="321"/>
                      </a:lnTo>
                      <a:lnTo>
                        <a:pt x="135" y="397"/>
                      </a:lnTo>
                      <a:lnTo>
                        <a:pt x="82" y="436"/>
                      </a:lnTo>
                      <a:lnTo>
                        <a:pt x="22" y="433"/>
                      </a:lnTo>
                      <a:lnTo>
                        <a:pt x="0" y="48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7" name="Freeform 440"/>
                <p:cNvSpPr/>
                <p:nvPr/>
              </p:nvSpPr>
              <p:spPr bwMode="auto">
                <a:xfrm>
                  <a:off x="1843467" y="3196688"/>
                  <a:ext cx="42118" cy="23868"/>
                </a:xfrm>
                <a:custGeom>
                  <a:avLst/>
                  <a:gdLst>
                    <a:gd name="T0" fmla="*/ 0 w 89"/>
                    <a:gd name="T1" fmla="*/ 1 h 54"/>
                    <a:gd name="T2" fmla="*/ 1 w 89"/>
                    <a:gd name="T3" fmla="*/ 1 h 54"/>
                    <a:gd name="T4" fmla="*/ 2 w 89"/>
                    <a:gd name="T5" fmla="*/ 0 h 54"/>
                    <a:gd name="T6" fmla="*/ 0 w 89"/>
                    <a:gd name="T7" fmla="*/ 1 h 5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9"/>
                    <a:gd name="T13" fmla="*/ 0 h 54"/>
                    <a:gd name="T14" fmla="*/ 89 w 89"/>
                    <a:gd name="T15" fmla="*/ 54 h 5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9" h="54">
                      <a:moveTo>
                        <a:pt x="0" y="30"/>
                      </a:moveTo>
                      <a:lnTo>
                        <a:pt x="32" y="54"/>
                      </a:lnTo>
                      <a:lnTo>
                        <a:pt x="89" y="0"/>
                      </a:lnTo>
                      <a:lnTo>
                        <a:pt x="0" y="3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8" name="Freeform 441"/>
                <p:cNvSpPr/>
                <p:nvPr/>
              </p:nvSpPr>
              <p:spPr bwMode="auto">
                <a:xfrm>
                  <a:off x="1267291" y="3689954"/>
                  <a:ext cx="48857" cy="124112"/>
                </a:xfrm>
                <a:custGeom>
                  <a:avLst/>
                  <a:gdLst>
                    <a:gd name="T0" fmla="*/ 0 w 102"/>
                    <a:gd name="T1" fmla="*/ 1 h 274"/>
                    <a:gd name="T2" fmla="*/ 1 w 102"/>
                    <a:gd name="T3" fmla="*/ 6 h 274"/>
                    <a:gd name="T4" fmla="*/ 2 w 102"/>
                    <a:gd name="T5" fmla="*/ 6 h 274"/>
                    <a:gd name="T6" fmla="*/ 2 w 102"/>
                    <a:gd name="T7" fmla="*/ 1 h 274"/>
                    <a:gd name="T8" fmla="*/ 2 w 102"/>
                    <a:gd name="T9" fmla="*/ 0 h 274"/>
                    <a:gd name="T10" fmla="*/ 1 w 102"/>
                    <a:gd name="T11" fmla="*/ 0 h 274"/>
                    <a:gd name="T12" fmla="*/ 0 w 102"/>
                    <a:gd name="T13" fmla="*/ 1 h 27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02"/>
                    <a:gd name="T22" fmla="*/ 0 h 274"/>
                    <a:gd name="T23" fmla="*/ 102 w 102"/>
                    <a:gd name="T24" fmla="*/ 274 h 274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02" h="274">
                      <a:moveTo>
                        <a:pt x="0" y="65"/>
                      </a:moveTo>
                      <a:lnTo>
                        <a:pt x="41" y="274"/>
                      </a:lnTo>
                      <a:lnTo>
                        <a:pt x="73" y="270"/>
                      </a:lnTo>
                      <a:lnTo>
                        <a:pt x="102" y="30"/>
                      </a:lnTo>
                      <a:lnTo>
                        <a:pt x="73" y="0"/>
                      </a:lnTo>
                      <a:lnTo>
                        <a:pt x="52" y="19"/>
                      </a:lnTo>
                      <a:lnTo>
                        <a:pt x="0" y="6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9" name="Freeform 442"/>
                <p:cNvSpPr/>
                <p:nvPr/>
              </p:nvSpPr>
              <p:spPr bwMode="auto">
                <a:xfrm>
                  <a:off x="1422286" y="3895216"/>
                  <a:ext cx="33694" cy="25459"/>
                </a:xfrm>
                <a:custGeom>
                  <a:avLst/>
                  <a:gdLst>
                    <a:gd name="T0" fmla="*/ 0 w 69"/>
                    <a:gd name="T1" fmla="*/ 2 h 52"/>
                    <a:gd name="T2" fmla="*/ 0 w 69"/>
                    <a:gd name="T3" fmla="*/ 0 h 52"/>
                    <a:gd name="T4" fmla="*/ 2 w 69"/>
                    <a:gd name="T5" fmla="*/ 0 h 52"/>
                    <a:gd name="T6" fmla="*/ 2 w 69"/>
                    <a:gd name="T7" fmla="*/ 1 h 52"/>
                    <a:gd name="T8" fmla="*/ 0 w 69"/>
                    <a:gd name="T9" fmla="*/ 2 h 5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9"/>
                    <a:gd name="T16" fmla="*/ 0 h 52"/>
                    <a:gd name="T17" fmla="*/ 69 w 69"/>
                    <a:gd name="T18" fmla="*/ 52 h 5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9" h="52">
                      <a:moveTo>
                        <a:pt x="0" y="52"/>
                      </a:moveTo>
                      <a:lnTo>
                        <a:pt x="7" y="1"/>
                      </a:lnTo>
                      <a:lnTo>
                        <a:pt x="69" y="0"/>
                      </a:lnTo>
                      <a:lnTo>
                        <a:pt x="69" y="46"/>
                      </a:lnTo>
                      <a:lnTo>
                        <a:pt x="0" y="5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0" name="Freeform 443"/>
                <p:cNvSpPr/>
                <p:nvPr/>
              </p:nvSpPr>
              <p:spPr bwMode="auto">
                <a:xfrm>
                  <a:off x="1855260" y="3573798"/>
                  <a:ext cx="276295" cy="295959"/>
                </a:xfrm>
                <a:custGeom>
                  <a:avLst/>
                  <a:gdLst>
                    <a:gd name="T0" fmla="*/ 0 w 576"/>
                    <a:gd name="T1" fmla="*/ 11 h 650"/>
                    <a:gd name="T2" fmla="*/ 1 w 576"/>
                    <a:gd name="T3" fmla="*/ 10 h 650"/>
                    <a:gd name="T4" fmla="*/ 1 w 576"/>
                    <a:gd name="T5" fmla="*/ 8 h 650"/>
                    <a:gd name="T6" fmla="*/ 3 w 576"/>
                    <a:gd name="T7" fmla="*/ 5 h 650"/>
                    <a:gd name="T8" fmla="*/ 3 w 576"/>
                    <a:gd name="T9" fmla="*/ 1 h 650"/>
                    <a:gd name="T10" fmla="*/ 5 w 576"/>
                    <a:gd name="T11" fmla="*/ 0 h 650"/>
                    <a:gd name="T12" fmla="*/ 6 w 576"/>
                    <a:gd name="T13" fmla="*/ 3 h 650"/>
                    <a:gd name="T14" fmla="*/ 9 w 576"/>
                    <a:gd name="T15" fmla="*/ 6 h 650"/>
                    <a:gd name="T16" fmla="*/ 8 w 576"/>
                    <a:gd name="T17" fmla="*/ 7 h 650"/>
                    <a:gd name="T18" fmla="*/ 9 w 576"/>
                    <a:gd name="T19" fmla="*/ 8 h 650"/>
                    <a:gd name="T20" fmla="*/ 10 w 576"/>
                    <a:gd name="T21" fmla="*/ 9 h 650"/>
                    <a:gd name="T22" fmla="*/ 13 w 576"/>
                    <a:gd name="T23" fmla="*/ 11 h 650"/>
                    <a:gd name="T24" fmla="*/ 11 w 576"/>
                    <a:gd name="T25" fmla="*/ 14 h 650"/>
                    <a:gd name="T26" fmla="*/ 8 w 576"/>
                    <a:gd name="T27" fmla="*/ 15 h 650"/>
                    <a:gd name="T28" fmla="*/ 5 w 576"/>
                    <a:gd name="T29" fmla="*/ 15 h 650"/>
                    <a:gd name="T30" fmla="*/ 3 w 576"/>
                    <a:gd name="T31" fmla="*/ 14 h 650"/>
                    <a:gd name="T32" fmla="*/ 1 w 576"/>
                    <a:gd name="T33" fmla="*/ 12 h 650"/>
                    <a:gd name="T34" fmla="*/ 0 w 576"/>
                    <a:gd name="T35" fmla="*/ 11 h 650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576"/>
                    <a:gd name="T55" fmla="*/ 0 h 650"/>
                    <a:gd name="T56" fmla="*/ 576 w 576"/>
                    <a:gd name="T57" fmla="*/ 650 h 650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576" h="650">
                      <a:moveTo>
                        <a:pt x="0" y="454"/>
                      </a:moveTo>
                      <a:lnTo>
                        <a:pt x="43" y="422"/>
                      </a:lnTo>
                      <a:lnTo>
                        <a:pt x="51" y="342"/>
                      </a:lnTo>
                      <a:lnTo>
                        <a:pt x="121" y="232"/>
                      </a:lnTo>
                      <a:lnTo>
                        <a:pt x="152" y="43"/>
                      </a:lnTo>
                      <a:lnTo>
                        <a:pt x="211" y="0"/>
                      </a:lnTo>
                      <a:lnTo>
                        <a:pt x="255" y="131"/>
                      </a:lnTo>
                      <a:lnTo>
                        <a:pt x="380" y="241"/>
                      </a:lnTo>
                      <a:lnTo>
                        <a:pt x="336" y="308"/>
                      </a:lnTo>
                      <a:lnTo>
                        <a:pt x="379" y="324"/>
                      </a:lnTo>
                      <a:lnTo>
                        <a:pt x="423" y="404"/>
                      </a:lnTo>
                      <a:lnTo>
                        <a:pt x="576" y="449"/>
                      </a:lnTo>
                      <a:lnTo>
                        <a:pt x="459" y="581"/>
                      </a:lnTo>
                      <a:lnTo>
                        <a:pt x="340" y="630"/>
                      </a:lnTo>
                      <a:lnTo>
                        <a:pt x="229" y="650"/>
                      </a:lnTo>
                      <a:lnTo>
                        <a:pt x="109" y="602"/>
                      </a:lnTo>
                      <a:lnTo>
                        <a:pt x="65" y="510"/>
                      </a:lnTo>
                      <a:lnTo>
                        <a:pt x="0" y="454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1" name="Freeform 444"/>
                <p:cNvSpPr/>
                <p:nvPr/>
              </p:nvSpPr>
              <p:spPr bwMode="auto">
                <a:xfrm>
                  <a:off x="2016993" y="3683589"/>
                  <a:ext cx="28640" cy="38188"/>
                </a:xfrm>
                <a:custGeom>
                  <a:avLst/>
                  <a:gdLst>
                    <a:gd name="T0" fmla="*/ 0 w 60"/>
                    <a:gd name="T1" fmla="*/ 1 h 83"/>
                    <a:gd name="T2" fmla="*/ 1 w 60"/>
                    <a:gd name="T3" fmla="*/ 2 h 83"/>
                    <a:gd name="T4" fmla="*/ 1 w 60"/>
                    <a:gd name="T5" fmla="*/ 1 h 83"/>
                    <a:gd name="T6" fmla="*/ 1 w 60"/>
                    <a:gd name="T7" fmla="*/ 1 h 83"/>
                    <a:gd name="T8" fmla="*/ 1 w 60"/>
                    <a:gd name="T9" fmla="*/ 1 h 83"/>
                    <a:gd name="T10" fmla="*/ 1 w 60"/>
                    <a:gd name="T11" fmla="*/ 0 h 83"/>
                    <a:gd name="T12" fmla="*/ 0 w 60"/>
                    <a:gd name="T13" fmla="*/ 1 h 8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60"/>
                    <a:gd name="T22" fmla="*/ 0 h 83"/>
                    <a:gd name="T23" fmla="*/ 60 w 60"/>
                    <a:gd name="T24" fmla="*/ 83 h 8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60" h="83">
                      <a:moveTo>
                        <a:pt x="0" y="67"/>
                      </a:moveTo>
                      <a:lnTo>
                        <a:pt x="43" y="83"/>
                      </a:lnTo>
                      <a:lnTo>
                        <a:pt x="56" y="58"/>
                      </a:lnTo>
                      <a:lnTo>
                        <a:pt x="30" y="52"/>
                      </a:lnTo>
                      <a:lnTo>
                        <a:pt x="60" y="32"/>
                      </a:lnTo>
                      <a:lnTo>
                        <a:pt x="44" y="0"/>
                      </a:lnTo>
                      <a:lnTo>
                        <a:pt x="0" y="6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2" name="Freeform 445"/>
                <p:cNvSpPr/>
                <p:nvPr/>
              </p:nvSpPr>
              <p:spPr bwMode="auto">
                <a:xfrm>
                  <a:off x="1408808" y="3895216"/>
                  <a:ext cx="102768" cy="120930"/>
                </a:xfrm>
                <a:custGeom>
                  <a:avLst/>
                  <a:gdLst>
                    <a:gd name="T0" fmla="*/ 0 w 214"/>
                    <a:gd name="T1" fmla="*/ 3 h 267"/>
                    <a:gd name="T2" fmla="*/ 1 w 214"/>
                    <a:gd name="T3" fmla="*/ 2 h 267"/>
                    <a:gd name="T4" fmla="*/ 1 w 214"/>
                    <a:gd name="T5" fmla="*/ 2 h 267"/>
                    <a:gd name="T6" fmla="*/ 1 w 214"/>
                    <a:gd name="T7" fmla="*/ 1 h 267"/>
                    <a:gd name="T8" fmla="*/ 2 w 214"/>
                    <a:gd name="T9" fmla="*/ 1 h 267"/>
                    <a:gd name="T10" fmla="*/ 2 w 214"/>
                    <a:gd name="T11" fmla="*/ 0 h 267"/>
                    <a:gd name="T12" fmla="*/ 4 w 214"/>
                    <a:gd name="T13" fmla="*/ 0 h 267"/>
                    <a:gd name="T14" fmla="*/ 4 w 214"/>
                    <a:gd name="T15" fmla="*/ 1 h 267"/>
                    <a:gd name="T16" fmla="*/ 5 w 214"/>
                    <a:gd name="T17" fmla="*/ 1 h 267"/>
                    <a:gd name="T18" fmla="*/ 5 w 214"/>
                    <a:gd name="T19" fmla="*/ 5 h 267"/>
                    <a:gd name="T20" fmla="*/ 3 w 214"/>
                    <a:gd name="T21" fmla="*/ 4 h 267"/>
                    <a:gd name="T22" fmla="*/ 2 w 214"/>
                    <a:gd name="T23" fmla="*/ 6 h 267"/>
                    <a:gd name="T24" fmla="*/ 0 w 214"/>
                    <a:gd name="T25" fmla="*/ 3 h 26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14"/>
                    <a:gd name="T40" fmla="*/ 0 h 267"/>
                    <a:gd name="T41" fmla="*/ 214 w 214"/>
                    <a:gd name="T42" fmla="*/ 267 h 26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14" h="267">
                      <a:moveTo>
                        <a:pt x="0" y="125"/>
                      </a:moveTo>
                      <a:lnTo>
                        <a:pt x="25" y="83"/>
                      </a:lnTo>
                      <a:lnTo>
                        <a:pt x="41" y="88"/>
                      </a:lnTo>
                      <a:lnTo>
                        <a:pt x="28" y="52"/>
                      </a:lnTo>
                      <a:lnTo>
                        <a:pt x="97" y="46"/>
                      </a:lnTo>
                      <a:lnTo>
                        <a:pt x="97" y="0"/>
                      </a:lnTo>
                      <a:lnTo>
                        <a:pt x="175" y="1"/>
                      </a:lnTo>
                      <a:lnTo>
                        <a:pt x="171" y="42"/>
                      </a:lnTo>
                      <a:lnTo>
                        <a:pt x="214" y="43"/>
                      </a:lnTo>
                      <a:lnTo>
                        <a:pt x="200" y="196"/>
                      </a:lnTo>
                      <a:lnTo>
                        <a:pt x="152" y="178"/>
                      </a:lnTo>
                      <a:lnTo>
                        <a:pt x="93" y="267"/>
                      </a:lnTo>
                      <a:lnTo>
                        <a:pt x="0" y="12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3" name="Freeform 446"/>
                <p:cNvSpPr/>
                <p:nvPr/>
              </p:nvSpPr>
              <p:spPr bwMode="auto">
                <a:xfrm>
                  <a:off x="942140" y="3666086"/>
                  <a:ext cx="55596" cy="11138"/>
                </a:xfrm>
                <a:custGeom>
                  <a:avLst/>
                  <a:gdLst>
                    <a:gd name="T0" fmla="*/ 0 w 114"/>
                    <a:gd name="T1" fmla="*/ 1 h 26"/>
                    <a:gd name="T2" fmla="*/ 0 w 114"/>
                    <a:gd name="T3" fmla="*/ 0 h 26"/>
                    <a:gd name="T4" fmla="*/ 3 w 114"/>
                    <a:gd name="T5" fmla="*/ 0 h 26"/>
                    <a:gd name="T6" fmla="*/ 0 w 114"/>
                    <a:gd name="T7" fmla="*/ 1 h 2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14"/>
                    <a:gd name="T13" fmla="*/ 0 h 26"/>
                    <a:gd name="T14" fmla="*/ 114 w 114"/>
                    <a:gd name="T15" fmla="*/ 26 h 2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14" h="26">
                      <a:moveTo>
                        <a:pt x="0" y="26"/>
                      </a:moveTo>
                      <a:lnTo>
                        <a:pt x="7" y="0"/>
                      </a:lnTo>
                      <a:lnTo>
                        <a:pt x="114" y="9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4" name="Freeform 447"/>
                <p:cNvSpPr/>
                <p:nvPr/>
              </p:nvSpPr>
              <p:spPr bwMode="auto">
                <a:xfrm>
                  <a:off x="1194848" y="3715413"/>
                  <a:ext cx="77497" cy="128885"/>
                </a:xfrm>
                <a:custGeom>
                  <a:avLst/>
                  <a:gdLst>
                    <a:gd name="T0" fmla="*/ 0 w 163"/>
                    <a:gd name="T1" fmla="*/ 6 h 285"/>
                    <a:gd name="T2" fmla="*/ 1 w 163"/>
                    <a:gd name="T3" fmla="*/ 2 h 285"/>
                    <a:gd name="T4" fmla="*/ 0 w 163"/>
                    <a:gd name="T5" fmla="*/ 0 h 285"/>
                    <a:gd name="T6" fmla="*/ 3 w 163"/>
                    <a:gd name="T7" fmla="*/ 0 h 285"/>
                    <a:gd name="T8" fmla="*/ 4 w 163"/>
                    <a:gd name="T9" fmla="*/ 5 h 285"/>
                    <a:gd name="T10" fmla="*/ 1 w 163"/>
                    <a:gd name="T11" fmla="*/ 7 h 285"/>
                    <a:gd name="T12" fmla="*/ 0 w 163"/>
                    <a:gd name="T13" fmla="*/ 6 h 28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63"/>
                    <a:gd name="T22" fmla="*/ 0 h 285"/>
                    <a:gd name="T23" fmla="*/ 163 w 163"/>
                    <a:gd name="T24" fmla="*/ 285 h 28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63" h="285">
                      <a:moveTo>
                        <a:pt x="0" y="269"/>
                      </a:moveTo>
                      <a:lnTo>
                        <a:pt x="20" y="71"/>
                      </a:lnTo>
                      <a:lnTo>
                        <a:pt x="10" y="10"/>
                      </a:lnTo>
                      <a:lnTo>
                        <a:pt x="110" y="0"/>
                      </a:lnTo>
                      <a:lnTo>
                        <a:pt x="163" y="227"/>
                      </a:lnTo>
                      <a:lnTo>
                        <a:pt x="40" y="285"/>
                      </a:lnTo>
                      <a:lnTo>
                        <a:pt x="0" y="26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5" name="Freeform 448"/>
                <p:cNvSpPr/>
                <p:nvPr/>
              </p:nvSpPr>
              <p:spPr bwMode="auto">
                <a:xfrm>
                  <a:off x="974150" y="3683589"/>
                  <a:ext cx="134778" cy="108200"/>
                </a:xfrm>
                <a:custGeom>
                  <a:avLst/>
                  <a:gdLst>
                    <a:gd name="T0" fmla="*/ 0 w 281"/>
                    <a:gd name="T1" fmla="*/ 2 h 238"/>
                    <a:gd name="T2" fmla="*/ 1 w 281"/>
                    <a:gd name="T3" fmla="*/ 1 h 238"/>
                    <a:gd name="T4" fmla="*/ 1 w 281"/>
                    <a:gd name="T5" fmla="*/ 0 h 238"/>
                    <a:gd name="T6" fmla="*/ 3 w 281"/>
                    <a:gd name="T7" fmla="*/ 0 h 238"/>
                    <a:gd name="T8" fmla="*/ 4 w 281"/>
                    <a:gd name="T9" fmla="*/ 1 h 238"/>
                    <a:gd name="T10" fmla="*/ 5 w 281"/>
                    <a:gd name="T11" fmla="*/ 0 h 238"/>
                    <a:gd name="T12" fmla="*/ 6 w 281"/>
                    <a:gd name="T13" fmla="*/ 3 h 238"/>
                    <a:gd name="T14" fmla="*/ 7 w 281"/>
                    <a:gd name="T15" fmla="*/ 5 h 238"/>
                    <a:gd name="T16" fmla="*/ 6 w 281"/>
                    <a:gd name="T17" fmla="*/ 4 h 238"/>
                    <a:gd name="T18" fmla="*/ 6 w 281"/>
                    <a:gd name="T19" fmla="*/ 5 h 238"/>
                    <a:gd name="T20" fmla="*/ 5 w 281"/>
                    <a:gd name="T21" fmla="*/ 5 h 238"/>
                    <a:gd name="T22" fmla="*/ 5 w 281"/>
                    <a:gd name="T23" fmla="*/ 5 h 238"/>
                    <a:gd name="T24" fmla="*/ 4 w 281"/>
                    <a:gd name="T25" fmla="*/ 4 h 238"/>
                    <a:gd name="T26" fmla="*/ 3 w 281"/>
                    <a:gd name="T27" fmla="*/ 3 h 238"/>
                    <a:gd name="T28" fmla="*/ 2 w 281"/>
                    <a:gd name="T29" fmla="*/ 4 h 238"/>
                    <a:gd name="T30" fmla="*/ 0 w 281"/>
                    <a:gd name="T31" fmla="*/ 2 h 238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281"/>
                    <a:gd name="T49" fmla="*/ 0 h 238"/>
                    <a:gd name="T50" fmla="*/ 281 w 281"/>
                    <a:gd name="T51" fmla="*/ 238 h 238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281" h="238">
                      <a:moveTo>
                        <a:pt x="0" y="79"/>
                      </a:moveTo>
                      <a:lnTo>
                        <a:pt x="46" y="44"/>
                      </a:lnTo>
                      <a:lnTo>
                        <a:pt x="49" y="0"/>
                      </a:lnTo>
                      <a:lnTo>
                        <a:pt x="140" y="9"/>
                      </a:lnTo>
                      <a:lnTo>
                        <a:pt x="167" y="32"/>
                      </a:lnTo>
                      <a:lnTo>
                        <a:pt x="231" y="6"/>
                      </a:lnTo>
                      <a:lnTo>
                        <a:pt x="269" y="113"/>
                      </a:lnTo>
                      <a:lnTo>
                        <a:pt x="281" y="193"/>
                      </a:lnTo>
                      <a:lnTo>
                        <a:pt x="258" y="186"/>
                      </a:lnTo>
                      <a:lnTo>
                        <a:pt x="252" y="231"/>
                      </a:lnTo>
                      <a:lnTo>
                        <a:pt x="211" y="238"/>
                      </a:lnTo>
                      <a:lnTo>
                        <a:pt x="208" y="193"/>
                      </a:lnTo>
                      <a:lnTo>
                        <a:pt x="187" y="190"/>
                      </a:lnTo>
                      <a:lnTo>
                        <a:pt x="147" y="124"/>
                      </a:lnTo>
                      <a:lnTo>
                        <a:pt x="71" y="161"/>
                      </a:lnTo>
                      <a:lnTo>
                        <a:pt x="0" y="7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6" name="Freeform 449"/>
                <p:cNvSpPr/>
                <p:nvPr/>
              </p:nvSpPr>
              <p:spPr bwMode="auto">
                <a:xfrm>
                  <a:off x="2072589" y="3339895"/>
                  <a:ext cx="30325" cy="9547"/>
                </a:xfrm>
                <a:custGeom>
                  <a:avLst/>
                  <a:gdLst>
                    <a:gd name="T0" fmla="*/ 0 w 66"/>
                    <a:gd name="T1" fmla="*/ 0 h 22"/>
                    <a:gd name="T2" fmla="*/ 1 w 66"/>
                    <a:gd name="T3" fmla="*/ 1 h 22"/>
                    <a:gd name="T4" fmla="*/ 1 w 66"/>
                    <a:gd name="T5" fmla="*/ 0 h 22"/>
                    <a:gd name="T6" fmla="*/ 0 w 66"/>
                    <a:gd name="T7" fmla="*/ 0 h 2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66"/>
                    <a:gd name="T13" fmla="*/ 0 h 22"/>
                    <a:gd name="T14" fmla="*/ 66 w 66"/>
                    <a:gd name="T15" fmla="*/ 22 h 2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66" h="22">
                      <a:moveTo>
                        <a:pt x="0" y="0"/>
                      </a:moveTo>
                      <a:lnTo>
                        <a:pt x="32" y="22"/>
                      </a:lnTo>
                      <a:lnTo>
                        <a:pt x="66" y="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7" name="Freeform 450"/>
                <p:cNvSpPr/>
                <p:nvPr/>
              </p:nvSpPr>
              <p:spPr bwMode="auto">
                <a:xfrm>
                  <a:off x="1873792" y="3250789"/>
                  <a:ext cx="28640" cy="85924"/>
                </a:xfrm>
                <a:custGeom>
                  <a:avLst/>
                  <a:gdLst>
                    <a:gd name="T0" fmla="*/ 0 w 61"/>
                    <a:gd name="T1" fmla="*/ 2 h 188"/>
                    <a:gd name="T2" fmla="*/ 1 w 61"/>
                    <a:gd name="T3" fmla="*/ 5 h 188"/>
                    <a:gd name="T4" fmla="*/ 1 w 61"/>
                    <a:gd name="T5" fmla="*/ 4 h 188"/>
                    <a:gd name="T6" fmla="*/ 1 w 61"/>
                    <a:gd name="T7" fmla="*/ 2 h 188"/>
                    <a:gd name="T8" fmla="*/ 1 w 61"/>
                    <a:gd name="T9" fmla="*/ 2 h 188"/>
                    <a:gd name="T10" fmla="*/ 1 w 61"/>
                    <a:gd name="T11" fmla="*/ 1 h 188"/>
                    <a:gd name="T12" fmla="*/ 1 w 61"/>
                    <a:gd name="T13" fmla="*/ 1 h 188"/>
                    <a:gd name="T14" fmla="*/ 1 w 61"/>
                    <a:gd name="T15" fmla="*/ 0 h 188"/>
                    <a:gd name="T16" fmla="*/ 1 w 61"/>
                    <a:gd name="T17" fmla="*/ 0 h 188"/>
                    <a:gd name="T18" fmla="*/ 0 w 61"/>
                    <a:gd name="T19" fmla="*/ 2 h 18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1"/>
                    <a:gd name="T31" fmla="*/ 0 h 188"/>
                    <a:gd name="T32" fmla="*/ 61 w 61"/>
                    <a:gd name="T33" fmla="*/ 188 h 18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1" h="188">
                      <a:moveTo>
                        <a:pt x="0" y="95"/>
                      </a:moveTo>
                      <a:lnTo>
                        <a:pt x="31" y="188"/>
                      </a:lnTo>
                      <a:lnTo>
                        <a:pt x="37" y="185"/>
                      </a:lnTo>
                      <a:lnTo>
                        <a:pt x="55" y="85"/>
                      </a:lnTo>
                      <a:lnTo>
                        <a:pt x="30" y="92"/>
                      </a:lnTo>
                      <a:lnTo>
                        <a:pt x="37" y="47"/>
                      </a:lnTo>
                      <a:lnTo>
                        <a:pt x="56" y="26"/>
                      </a:lnTo>
                      <a:lnTo>
                        <a:pt x="61" y="0"/>
                      </a:lnTo>
                      <a:lnTo>
                        <a:pt x="38" y="3"/>
                      </a:lnTo>
                      <a:lnTo>
                        <a:pt x="0" y="9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8" name="Freeform 451"/>
                <p:cNvSpPr/>
                <p:nvPr/>
              </p:nvSpPr>
              <p:spPr bwMode="auto">
                <a:xfrm>
                  <a:off x="1093765" y="3724960"/>
                  <a:ext cx="109507" cy="125703"/>
                </a:xfrm>
                <a:custGeom>
                  <a:avLst/>
                  <a:gdLst>
                    <a:gd name="T0" fmla="*/ 0 w 229"/>
                    <a:gd name="T1" fmla="*/ 4 h 278"/>
                    <a:gd name="T2" fmla="*/ 0 w 229"/>
                    <a:gd name="T3" fmla="*/ 3 h 278"/>
                    <a:gd name="T4" fmla="*/ 0 w 229"/>
                    <a:gd name="T5" fmla="*/ 2 h 278"/>
                    <a:gd name="T6" fmla="*/ 1 w 229"/>
                    <a:gd name="T7" fmla="*/ 3 h 278"/>
                    <a:gd name="T8" fmla="*/ 1 w 229"/>
                    <a:gd name="T9" fmla="*/ 1 h 278"/>
                    <a:gd name="T10" fmla="*/ 2 w 229"/>
                    <a:gd name="T11" fmla="*/ 0 h 278"/>
                    <a:gd name="T12" fmla="*/ 3 w 229"/>
                    <a:gd name="T13" fmla="*/ 0 h 278"/>
                    <a:gd name="T14" fmla="*/ 3 w 229"/>
                    <a:gd name="T15" fmla="*/ 1 h 278"/>
                    <a:gd name="T16" fmla="*/ 5 w 229"/>
                    <a:gd name="T17" fmla="*/ 1 h 278"/>
                    <a:gd name="T18" fmla="*/ 5 w 229"/>
                    <a:gd name="T19" fmla="*/ 6 h 278"/>
                    <a:gd name="T20" fmla="*/ 1 w 229"/>
                    <a:gd name="T21" fmla="*/ 6 h 278"/>
                    <a:gd name="T22" fmla="*/ 1 w 229"/>
                    <a:gd name="T23" fmla="*/ 5 h 278"/>
                    <a:gd name="T24" fmla="*/ 0 w 229"/>
                    <a:gd name="T25" fmla="*/ 4 h 27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29"/>
                    <a:gd name="T40" fmla="*/ 0 h 278"/>
                    <a:gd name="T41" fmla="*/ 229 w 229"/>
                    <a:gd name="T42" fmla="*/ 278 h 278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29" h="278">
                      <a:moveTo>
                        <a:pt x="0" y="184"/>
                      </a:moveTo>
                      <a:lnTo>
                        <a:pt x="4" y="142"/>
                      </a:lnTo>
                      <a:lnTo>
                        <a:pt x="10" y="97"/>
                      </a:lnTo>
                      <a:lnTo>
                        <a:pt x="33" y="104"/>
                      </a:lnTo>
                      <a:lnTo>
                        <a:pt x="21" y="24"/>
                      </a:lnTo>
                      <a:lnTo>
                        <a:pt x="89" y="0"/>
                      </a:lnTo>
                      <a:lnTo>
                        <a:pt x="127" y="16"/>
                      </a:lnTo>
                      <a:lnTo>
                        <a:pt x="150" y="42"/>
                      </a:lnTo>
                      <a:lnTo>
                        <a:pt x="229" y="51"/>
                      </a:lnTo>
                      <a:lnTo>
                        <a:pt x="209" y="249"/>
                      </a:lnTo>
                      <a:lnTo>
                        <a:pt x="35" y="278"/>
                      </a:lnTo>
                      <a:lnTo>
                        <a:pt x="38" y="216"/>
                      </a:lnTo>
                      <a:lnTo>
                        <a:pt x="0" y="184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9" name="Freeform 452"/>
                <p:cNvSpPr/>
                <p:nvPr/>
              </p:nvSpPr>
              <p:spPr bwMode="auto">
                <a:xfrm>
                  <a:off x="1887270" y="3247606"/>
                  <a:ext cx="79182" cy="93880"/>
                </a:xfrm>
                <a:custGeom>
                  <a:avLst/>
                  <a:gdLst>
                    <a:gd name="T0" fmla="*/ 0 w 166"/>
                    <a:gd name="T1" fmla="*/ 2 h 207"/>
                    <a:gd name="T2" fmla="*/ 0 w 166"/>
                    <a:gd name="T3" fmla="*/ 1 h 207"/>
                    <a:gd name="T4" fmla="*/ 1 w 166"/>
                    <a:gd name="T5" fmla="*/ 1 h 207"/>
                    <a:gd name="T6" fmla="*/ 1 w 166"/>
                    <a:gd name="T7" fmla="*/ 1 h 207"/>
                    <a:gd name="T8" fmla="*/ 3 w 166"/>
                    <a:gd name="T9" fmla="*/ 0 h 207"/>
                    <a:gd name="T10" fmla="*/ 4 w 166"/>
                    <a:gd name="T11" fmla="*/ 1 h 207"/>
                    <a:gd name="T12" fmla="*/ 2 w 166"/>
                    <a:gd name="T13" fmla="*/ 2 h 207"/>
                    <a:gd name="T14" fmla="*/ 3 w 166"/>
                    <a:gd name="T15" fmla="*/ 3 h 207"/>
                    <a:gd name="T16" fmla="*/ 2 w 166"/>
                    <a:gd name="T17" fmla="*/ 4 h 207"/>
                    <a:gd name="T18" fmla="*/ 1 w 166"/>
                    <a:gd name="T19" fmla="*/ 5 h 207"/>
                    <a:gd name="T20" fmla="*/ 0 w 166"/>
                    <a:gd name="T21" fmla="*/ 5 h 207"/>
                    <a:gd name="T22" fmla="*/ 1 w 166"/>
                    <a:gd name="T23" fmla="*/ 2 h 207"/>
                    <a:gd name="T24" fmla="*/ 0 w 166"/>
                    <a:gd name="T25" fmla="*/ 2 h 20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166"/>
                    <a:gd name="T40" fmla="*/ 0 h 207"/>
                    <a:gd name="T41" fmla="*/ 166 w 166"/>
                    <a:gd name="T42" fmla="*/ 207 h 20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166" h="207">
                      <a:moveTo>
                        <a:pt x="0" y="100"/>
                      </a:moveTo>
                      <a:lnTo>
                        <a:pt x="7" y="55"/>
                      </a:lnTo>
                      <a:lnTo>
                        <a:pt x="26" y="34"/>
                      </a:lnTo>
                      <a:lnTo>
                        <a:pt x="64" y="53"/>
                      </a:lnTo>
                      <a:lnTo>
                        <a:pt x="148" y="0"/>
                      </a:lnTo>
                      <a:lnTo>
                        <a:pt x="166" y="58"/>
                      </a:lnTo>
                      <a:lnTo>
                        <a:pt x="80" y="90"/>
                      </a:lnTo>
                      <a:lnTo>
                        <a:pt x="125" y="136"/>
                      </a:lnTo>
                      <a:lnTo>
                        <a:pt x="102" y="165"/>
                      </a:lnTo>
                      <a:lnTo>
                        <a:pt x="49" y="207"/>
                      </a:lnTo>
                      <a:lnTo>
                        <a:pt x="7" y="193"/>
                      </a:lnTo>
                      <a:lnTo>
                        <a:pt x="25" y="93"/>
                      </a:lnTo>
                      <a:lnTo>
                        <a:pt x="0" y="10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0" name="Freeform 453"/>
                <p:cNvSpPr/>
                <p:nvPr/>
              </p:nvSpPr>
              <p:spPr bwMode="auto">
                <a:xfrm>
                  <a:off x="1873792" y="3847480"/>
                  <a:ext cx="144886" cy="184577"/>
                </a:xfrm>
                <a:custGeom>
                  <a:avLst/>
                  <a:gdLst>
                    <a:gd name="T0" fmla="*/ 0 w 303"/>
                    <a:gd name="T1" fmla="*/ 1 h 407"/>
                    <a:gd name="T2" fmla="*/ 1 w 303"/>
                    <a:gd name="T3" fmla="*/ 3 h 407"/>
                    <a:gd name="T4" fmla="*/ 0 w 303"/>
                    <a:gd name="T5" fmla="*/ 4 h 407"/>
                    <a:gd name="T6" fmla="*/ 1 w 303"/>
                    <a:gd name="T7" fmla="*/ 5 h 407"/>
                    <a:gd name="T8" fmla="*/ 0 w 303"/>
                    <a:gd name="T9" fmla="*/ 6 h 407"/>
                    <a:gd name="T10" fmla="*/ 5 w 303"/>
                    <a:gd name="T11" fmla="*/ 9 h 407"/>
                    <a:gd name="T12" fmla="*/ 7 w 303"/>
                    <a:gd name="T13" fmla="*/ 7 h 407"/>
                    <a:gd name="T14" fmla="*/ 6 w 303"/>
                    <a:gd name="T15" fmla="*/ 5 h 407"/>
                    <a:gd name="T16" fmla="*/ 6 w 303"/>
                    <a:gd name="T17" fmla="*/ 2 h 407"/>
                    <a:gd name="T18" fmla="*/ 7 w 303"/>
                    <a:gd name="T19" fmla="*/ 1 h 407"/>
                    <a:gd name="T20" fmla="*/ 4 w 303"/>
                    <a:gd name="T21" fmla="*/ 1 h 407"/>
                    <a:gd name="T22" fmla="*/ 2 w 303"/>
                    <a:gd name="T23" fmla="*/ 0 h 407"/>
                    <a:gd name="T24" fmla="*/ 0 w 303"/>
                    <a:gd name="T25" fmla="*/ 1 h 40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03"/>
                    <a:gd name="T40" fmla="*/ 0 h 407"/>
                    <a:gd name="T41" fmla="*/ 303 w 303"/>
                    <a:gd name="T42" fmla="*/ 407 h 40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03" h="407">
                      <a:moveTo>
                        <a:pt x="0" y="25"/>
                      </a:moveTo>
                      <a:lnTo>
                        <a:pt x="39" y="112"/>
                      </a:lnTo>
                      <a:lnTo>
                        <a:pt x="0" y="190"/>
                      </a:lnTo>
                      <a:lnTo>
                        <a:pt x="31" y="213"/>
                      </a:lnTo>
                      <a:lnTo>
                        <a:pt x="14" y="242"/>
                      </a:lnTo>
                      <a:lnTo>
                        <a:pt x="206" y="407"/>
                      </a:lnTo>
                      <a:lnTo>
                        <a:pt x="291" y="276"/>
                      </a:lnTo>
                      <a:lnTo>
                        <a:pt x="271" y="239"/>
                      </a:lnTo>
                      <a:lnTo>
                        <a:pt x="271" y="77"/>
                      </a:lnTo>
                      <a:lnTo>
                        <a:pt x="303" y="28"/>
                      </a:lnTo>
                      <a:lnTo>
                        <a:pt x="192" y="48"/>
                      </a:lnTo>
                      <a:lnTo>
                        <a:pt x="72" y="0"/>
                      </a:lnTo>
                      <a:lnTo>
                        <a:pt x="0" y="2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1" name="Freeform 454"/>
                <p:cNvSpPr/>
                <p:nvPr/>
              </p:nvSpPr>
              <p:spPr bwMode="auto">
                <a:xfrm>
                  <a:off x="2102914" y="3322392"/>
                  <a:ext cx="33694" cy="30232"/>
                </a:xfrm>
                <a:custGeom>
                  <a:avLst/>
                  <a:gdLst>
                    <a:gd name="T0" fmla="*/ 0 w 70"/>
                    <a:gd name="T1" fmla="*/ 1 h 67"/>
                    <a:gd name="T2" fmla="*/ 1 w 70"/>
                    <a:gd name="T3" fmla="*/ 0 h 67"/>
                    <a:gd name="T4" fmla="*/ 2 w 70"/>
                    <a:gd name="T5" fmla="*/ 1 h 67"/>
                    <a:gd name="T6" fmla="*/ 0 w 70"/>
                    <a:gd name="T7" fmla="*/ 1 h 6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70"/>
                    <a:gd name="T13" fmla="*/ 0 h 67"/>
                    <a:gd name="T14" fmla="*/ 70 w 70"/>
                    <a:gd name="T15" fmla="*/ 67 h 6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70" h="67">
                      <a:moveTo>
                        <a:pt x="0" y="42"/>
                      </a:moveTo>
                      <a:lnTo>
                        <a:pt x="59" y="0"/>
                      </a:lnTo>
                      <a:lnTo>
                        <a:pt x="70" y="67"/>
                      </a:lnTo>
                      <a:lnTo>
                        <a:pt x="0" y="4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2" name="Freeform 455"/>
                <p:cNvSpPr/>
                <p:nvPr/>
              </p:nvSpPr>
              <p:spPr bwMode="auto">
                <a:xfrm>
                  <a:off x="1892324" y="3217374"/>
                  <a:ext cx="28640" cy="35006"/>
                </a:xfrm>
                <a:custGeom>
                  <a:avLst/>
                  <a:gdLst>
                    <a:gd name="T0" fmla="*/ 0 w 61"/>
                    <a:gd name="T1" fmla="*/ 2 h 76"/>
                    <a:gd name="T2" fmla="*/ 1 w 61"/>
                    <a:gd name="T3" fmla="*/ 2 h 76"/>
                    <a:gd name="T4" fmla="*/ 1 w 61"/>
                    <a:gd name="T5" fmla="*/ 1 h 76"/>
                    <a:gd name="T6" fmla="*/ 1 w 61"/>
                    <a:gd name="T7" fmla="*/ 0 h 76"/>
                    <a:gd name="T8" fmla="*/ 0 w 61"/>
                    <a:gd name="T9" fmla="*/ 2 h 7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1"/>
                    <a:gd name="T16" fmla="*/ 0 h 76"/>
                    <a:gd name="T17" fmla="*/ 61 w 61"/>
                    <a:gd name="T18" fmla="*/ 76 h 7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1" h="76">
                      <a:moveTo>
                        <a:pt x="0" y="76"/>
                      </a:moveTo>
                      <a:lnTo>
                        <a:pt x="23" y="73"/>
                      </a:lnTo>
                      <a:lnTo>
                        <a:pt x="61" y="21"/>
                      </a:lnTo>
                      <a:lnTo>
                        <a:pt x="40" y="0"/>
                      </a:lnTo>
                      <a:lnTo>
                        <a:pt x="0" y="7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3" name="Freeform 456"/>
                <p:cNvSpPr/>
                <p:nvPr/>
              </p:nvSpPr>
              <p:spPr bwMode="auto">
                <a:xfrm>
                  <a:off x="1039854" y="3771104"/>
                  <a:ext cx="72443" cy="79559"/>
                </a:xfrm>
                <a:custGeom>
                  <a:avLst/>
                  <a:gdLst>
                    <a:gd name="T0" fmla="*/ 0 w 148"/>
                    <a:gd name="T1" fmla="*/ 1 h 177"/>
                    <a:gd name="T2" fmla="*/ 1 w 148"/>
                    <a:gd name="T3" fmla="*/ 0 h 177"/>
                    <a:gd name="T4" fmla="*/ 2 w 148"/>
                    <a:gd name="T5" fmla="*/ 0 h 177"/>
                    <a:gd name="T6" fmla="*/ 2 w 148"/>
                    <a:gd name="T7" fmla="*/ 1 h 177"/>
                    <a:gd name="T8" fmla="*/ 3 w 148"/>
                    <a:gd name="T9" fmla="*/ 1 h 177"/>
                    <a:gd name="T10" fmla="*/ 3 w 148"/>
                    <a:gd name="T11" fmla="*/ 2 h 177"/>
                    <a:gd name="T12" fmla="*/ 3 w 148"/>
                    <a:gd name="T13" fmla="*/ 3 h 177"/>
                    <a:gd name="T14" fmla="*/ 3 w 148"/>
                    <a:gd name="T15" fmla="*/ 4 h 177"/>
                    <a:gd name="T16" fmla="*/ 0 w 148"/>
                    <a:gd name="T17" fmla="*/ 1 h 17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48"/>
                    <a:gd name="T28" fmla="*/ 0 h 177"/>
                    <a:gd name="T29" fmla="*/ 148 w 148"/>
                    <a:gd name="T30" fmla="*/ 177 h 17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48" h="177">
                      <a:moveTo>
                        <a:pt x="0" y="67"/>
                      </a:moveTo>
                      <a:lnTo>
                        <a:pt x="49" y="0"/>
                      </a:lnTo>
                      <a:lnTo>
                        <a:pt x="70" y="3"/>
                      </a:lnTo>
                      <a:lnTo>
                        <a:pt x="73" y="48"/>
                      </a:lnTo>
                      <a:lnTo>
                        <a:pt x="114" y="41"/>
                      </a:lnTo>
                      <a:lnTo>
                        <a:pt x="110" y="83"/>
                      </a:lnTo>
                      <a:lnTo>
                        <a:pt x="148" y="115"/>
                      </a:lnTo>
                      <a:lnTo>
                        <a:pt x="145" y="177"/>
                      </a:lnTo>
                      <a:lnTo>
                        <a:pt x="0" y="6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4" name="Freeform 457"/>
                <p:cNvSpPr/>
                <p:nvPr/>
              </p:nvSpPr>
              <p:spPr bwMode="auto">
                <a:xfrm>
                  <a:off x="1420601" y="3252380"/>
                  <a:ext cx="286403" cy="294368"/>
                </a:xfrm>
                <a:custGeom>
                  <a:avLst/>
                  <a:gdLst>
                    <a:gd name="T0" fmla="*/ 0 w 597"/>
                    <a:gd name="T1" fmla="*/ 8 h 646"/>
                    <a:gd name="T2" fmla="*/ 0 w 597"/>
                    <a:gd name="T3" fmla="*/ 3 h 646"/>
                    <a:gd name="T4" fmla="*/ 2 w 597"/>
                    <a:gd name="T5" fmla="*/ 0 h 646"/>
                    <a:gd name="T6" fmla="*/ 5 w 597"/>
                    <a:gd name="T7" fmla="*/ 1 h 646"/>
                    <a:gd name="T8" fmla="*/ 6 w 597"/>
                    <a:gd name="T9" fmla="*/ 2 h 646"/>
                    <a:gd name="T10" fmla="*/ 8 w 597"/>
                    <a:gd name="T11" fmla="*/ 3 h 646"/>
                    <a:gd name="T12" fmla="*/ 9 w 597"/>
                    <a:gd name="T13" fmla="*/ 3 h 646"/>
                    <a:gd name="T14" fmla="*/ 9 w 597"/>
                    <a:gd name="T15" fmla="*/ 1 h 646"/>
                    <a:gd name="T16" fmla="*/ 10 w 597"/>
                    <a:gd name="T17" fmla="*/ 0 h 646"/>
                    <a:gd name="T18" fmla="*/ 14 w 597"/>
                    <a:gd name="T19" fmla="*/ 2 h 646"/>
                    <a:gd name="T20" fmla="*/ 13 w 597"/>
                    <a:gd name="T21" fmla="*/ 3 h 646"/>
                    <a:gd name="T22" fmla="*/ 14 w 597"/>
                    <a:gd name="T23" fmla="*/ 12 h 646"/>
                    <a:gd name="T24" fmla="*/ 14 w 597"/>
                    <a:gd name="T25" fmla="*/ 15 h 646"/>
                    <a:gd name="T26" fmla="*/ 13 w 597"/>
                    <a:gd name="T27" fmla="*/ 15 h 646"/>
                    <a:gd name="T28" fmla="*/ 13 w 597"/>
                    <a:gd name="T29" fmla="*/ 15 h 646"/>
                    <a:gd name="T30" fmla="*/ 6 w 597"/>
                    <a:gd name="T31" fmla="*/ 11 h 646"/>
                    <a:gd name="T32" fmla="*/ 5 w 597"/>
                    <a:gd name="T33" fmla="*/ 11 h 646"/>
                    <a:gd name="T34" fmla="*/ 2 w 597"/>
                    <a:gd name="T35" fmla="*/ 11 h 646"/>
                    <a:gd name="T36" fmla="*/ 0 w 597"/>
                    <a:gd name="T37" fmla="*/ 8 h 64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597"/>
                    <a:gd name="T58" fmla="*/ 0 h 646"/>
                    <a:gd name="T59" fmla="*/ 597 w 597"/>
                    <a:gd name="T60" fmla="*/ 646 h 64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597" h="646">
                      <a:moveTo>
                        <a:pt x="0" y="336"/>
                      </a:moveTo>
                      <a:lnTo>
                        <a:pt x="1" y="139"/>
                      </a:lnTo>
                      <a:lnTo>
                        <a:pt x="74" y="0"/>
                      </a:lnTo>
                      <a:lnTo>
                        <a:pt x="219" y="42"/>
                      </a:lnTo>
                      <a:lnTo>
                        <a:pt x="246" y="89"/>
                      </a:lnTo>
                      <a:lnTo>
                        <a:pt x="363" y="139"/>
                      </a:lnTo>
                      <a:lnTo>
                        <a:pt x="398" y="123"/>
                      </a:lnTo>
                      <a:lnTo>
                        <a:pt x="402" y="52"/>
                      </a:lnTo>
                      <a:lnTo>
                        <a:pt x="440" y="19"/>
                      </a:lnTo>
                      <a:lnTo>
                        <a:pt x="597" y="75"/>
                      </a:lnTo>
                      <a:lnTo>
                        <a:pt x="580" y="150"/>
                      </a:lnTo>
                      <a:lnTo>
                        <a:pt x="597" y="529"/>
                      </a:lnTo>
                      <a:lnTo>
                        <a:pt x="597" y="618"/>
                      </a:lnTo>
                      <a:lnTo>
                        <a:pt x="564" y="619"/>
                      </a:lnTo>
                      <a:lnTo>
                        <a:pt x="564" y="646"/>
                      </a:lnTo>
                      <a:lnTo>
                        <a:pt x="258" y="462"/>
                      </a:lnTo>
                      <a:lnTo>
                        <a:pt x="219" y="483"/>
                      </a:lnTo>
                      <a:lnTo>
                        <a:pt x="89" y="460"/>
                      </a:lnTo>
                      <a:lnTo>
                        <a:pt x="0" y="33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5" name="Freeform 458"/>
                <p:cNvSpPr/>
                <p:nvPr/>
              </p:nvSpPr>
              <p:spPr bwMode="auto">
                <a:xfrm>
                  <a:off x="2038895" y="4183219"/>
                  <a:ext cx="129724" cy="278456"/>
                </a:xfrm>
                <a:custGeom>
                  <a:avLst/>
                  <a:gdLst>
                    <a:gd name="T0" fmla="*/ 0 w 270"/>
                    <a:gd name="T1" fmla="*/ 10 h 616"/>
                    <a:gd name="T2" fmla="*/ 1 w 270"/>
                    <a:gd name="T3" fmla="*/ 13 h 616"/>
                    <a:gd name="T4" fmla="*/ 2 w 270"/>
                    <a:gd name="T5" fmla="*/ 14 h 616"/>
                    <a:gd name="T6" fmla="*/ 4 w 270"/>
                    <a:gd name="T7" fmla="*/ 13 h 616"/>
                    <a:gd name="T8" fmla="*/ 6 w 270"/>
                    <a:gd name="T9" fmla="*/ 3 h 616"/>
                    <a:gd name="T10" fmla="*/ 6 w 270"/>
                    <a:gd name="T11" fmla="*/ 4 h 616"/>
                    <a:gd name="T12" fmla="*/ 5 w 270"/>
                    <a:gd name="T13" fmla="*/ 0 h 616"/>
                    <a:gd name="T14" fmla="*/ 4 w 270"/>
                    <a:gd name="T15" fmla="*/ 1 h 616"/>
                    <a:gd name="T16" fmla="*/ 4 w 270"/>
                    <a:gd name="T17" fmla="*/ 3 h 616"/>
                    <a:gd name="T18" fmla="*/ 3 w 270"/>
                    <a:gd name="T19" fmla="*/ 4 h 616"/>
                    <a:gd name="T20" fmla="*/ 1 w 270"/>
                    <a:gd name="T21" fmla="*/ 4 h 616"/>
                    <a:gd name="T22" fmla="*/ 1 w 270"/>
                    <a:gd name="T23" fmla="*/ 5 h 616"/>
                    <a:gd name="T24" fmla="*/ 1 w 270"/>
                    <a:gd name="T25" fmla="*/ 8 h 616"/>
                    <a:gd name="T26" fmla="*/ 0 w 270"/>
                    <a:gd name="T27" fmla="*/ 10 h 61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270"/>
                    <a:gd name="T43" fmla="*/ 0 h 616"/>
                    <a:gd name="T44" fmla="*/ 270 w 270"/>
                    <a:gd name="T45" fmla="*/ 616 h 61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270" h="616">
                      <a:moveTo>
                        <a:pt x="0" y="441"/>
                      </a:moveTo>
                      <a:lnTo>
                        <a:pt x="26" y="567"/>
                      </a:lnTo>
                      <a:lnTo>
                        <a:pt x="76" y="616"/>
                      </a:lnTo>
                      <a:lnTo>
                        <a:pt x="161" y="567"/>
                      </a:lnTo>
                      <a:lnTo>
                        <a:pt x="254" y="144"/>
                      </a:lnTo>
                      <a:lnTo>
                        <a:pt x="270" y="161"/>
                      </a:lnTo>
                      <a:lnTo>
                        <a:pt x="232" y="0"/>
                      </a:lnTo>
                      <a:lnTo>
                        <a:pt x="182" y="68"/>
                      </a:lnTo>
                      <a:lnTo>
                        <a:pt x="182" y="115"/>
                      </a:lnTo>
                      <a:lnTo>
                        <a:pt x="122" y="165"/>
                      </a:lnTo>
                      <a:lnTo>
                        <a:pt x="47" y="186"/>
                      </a:lnTo>
                      <a:lnTo>
                        <a:pt x="29" y="240"/>
                      </a:lnTo>
                      <a:lnTo>
                        <a:pt x="47" y="348"/>
                      </a:lnTo>
                      <a:lnTo>
                        <a:pt x="0" y="44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6" name="Freeform 459"/>
                <p:cNvSpPr/>
                <p:nvPr/>
              </p:nvSpPr>
              <p:spPr bwMode="auto">
                <a:xfrm>
                  <a:off x="1850206" y="4127528"/>
                  <a:ext cx="60650" cy="157527"/>
                </a:xfrm>
                <a:custGeom>
                  <a:avLst/>
                  <a:gdLst>
                    <a:gd name="T0" fmla="*/ 0 w 124"/>
                    <a:gd name="T1" fmla="*/ 4 h 346"/>
                    <a:gd name="T2" fmla="*/ 0 w 124"/>
                    <a:gd name="T3" fmla="*/ 5 h 346"/>
                    <a:gd name="T4" fmla="*/ 2 w 124"/>
                    <a:gd name="T5" fmla="*/ 5 h 346"/>
                    <a:gd name="T6" fmla="*/ 1 w 124"/>
                    <a:gd name="T7" fmla="*/ 7 h 346"/>
                    <a:gd name="T8" fmla="*/ 2 w 124"/>
                    <a:gd name="T9" fmla="*/ 8 h 346"/>
                    <a:gd name="T10" fmla="*/ 3 w 124"/>
                    <a:gd name="T11" fmla="*/ 6 h 346"/>
                    <a:gd name="T12" fmla="*/ 2 w 124"/>
                    <a:gd name="T13" fmla="*/ 4 h 346"/>
                    <a:gd name="T14" fmla="*/ 2 w 124"/>
                    <a:gd name="T15" fmla="*/ 5 h 346"/>
                    <a:gd name="T16" fmla="*/ 2 w 124"/>
                    <a:gd name="T17" fmla="*/ 5 h 346"/>
                    <a:gd name="T18" fmla="*/ 1 w 124"/>
                    <a:gd name="T19" fmla="*/ 3 h 346"/>
                    <a:gd name="T20" fmla="*/ 1 w 124"/>
                    <a:gd name="T21" fmla="*/ 0 h 346"/>
                    <a:gd name="T22" fmla="*/ 0 w 124"/>
                    <a:gd name="T23" fmla="*/ 0 h 346"/>
                    <a:gd name="T24" fmla="*/ 1 w 124"/>
                    <a:gd name="T25" fmla="*/ 1 h 346"/>
                    <a:gd name="T26" fmla="*/ 0 w 124"/>
                    <a:gd name="T27" fmla="*/ 4 h 34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124"/>
                    <a:gd name="T43" fmla="*/ 0 h 346"/>
                    <a:gd name="T44" fmla="*/ 124 w 124"/>
                    <a:gd name="T45" fmla="*/ 346 h 34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124" h="346">
                      <a:moveTo>
                        <a:pt x="0" y="189"/>
                      </a:moveTo>
                      <a:lnTo>
                        <a:pt x="16" y="209"/>
                      </a:lnTo>
                      <a:lnTo>
                        <a:pt x="64" y="228"/>
                      </a:lnTo>
                      <a:lnTo>
                        <a:pt x="61" y="292"/>
                      </a:lnTo>
                      <a:lnTo>
                        <a:pt x="100" y="346"/>
                      </a:lnTo>
                      <a:lnTo>
                        <a:pt x="124" y="248"/>
                      </a:lnTo>
                      <a:lnTo>
                        <a:pt x="84" y="182"/>
                      </a:lnTo>
                      <a:lnTo>
                        <a:pt x="95" y="219"/>
                      </a:lnTo>
                      <a:lnTo>
                        <a:pt x="72" y="217"/>
                      </a:lnTo>
                      <a:lnTo>
                        <a:pt x="47" y="128"/>
                      </a:lnTo>
                      <a:lnTo>
                        <a:pt x="46" y="9"/>
                      </a:lnTo>
                      <a:lnTo>
                        <a:pt x="10" y="0"/>
                      </a:lnTo>
                      <a:lnTo>
                        <a:pt x="38" y="58"/>
                      </a:lnTo>
                      <a:lnTo>
                        <a:pt x="0" y="18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7" name="Freeform 460"/>
                <p:cNvSpPr/>
                <p:nvPr/>
              </p:nvSpPr>
              <p:spPr bwMode="auto">
                <a:xfrm>
                  <a:off x="1028061" y="3430592"/>
                  <a:ext cx="298196" cy="303915"/>
                </a:xfrm>
                <a:custGeom>
                  <a:avLst/>
                  <a:gdLst>
                    <a:gd name="T0" fmla="*/ 0 w 618"/>
                    <a:gd name="T1" fmla="*/ 11 h 673"/>
                    <a:gd name="T2" fmla="*/ 1 w 618"/>
                    <a:gd name="T3" fmla="*/ 10 h 673"/>
                    <a:gd name="T4" fmla="*/ 1 w 618"/>
                    <a:gd name="T5" fmla="*/ 10 h 673"/>
                    <a:gd name="T6" fmla="*/ 6 w 618"/>
                    <a:gd name="T7" fmla="*/ 10 h 673"/>
                    <a:gd name="T8" fmla="*/ 5 w 618"/>
                    <a:gd name="T9" fmla="*/ 0 h 673"/>
                    <a:gd name="T10" fmla="*/ 7 w 618"/>
                    <a:gd name="T11" fmla="*/ 0 h 673"/>
                    <a:gd name="T12" fmla="*/ 14 w 618"/>
                    <a:gd name="T13" fmla="*/ 5 h 673"/>
                    <a:gd name="T14" fmla="*/ 14 w 618"/>
                    <a:gd name="T15" fmla="*/ 6 h 673"/>
                    <a:gd name="T16" fmla="*/ 15 w 618"/>
                    <a:gd name="T17" fmla="*/ 6 h 673"/>
                    <a:gd name="T18" fmla="*/ 15 w 618"/>
                    <a:gd name="T19" fmla="*/ 9 h 673"/>
                    <a:gd name="T20" fmla="*/ 14 w 618"/>
                    <a:gd name="T21" fmla="*/ 10 h 673"/>
                    <a:gd name="T22" fmla="*/ 11 w 618"/>
                    <a:gd name="T23" fmla="*/ 11 h 673"/>
                    <a:gd name="T24" fmla="*/ 7 w 618"/>
                    <a:gd name="T25" fmla="*/ 12 h 673"/>
                    <a:gd name="T26" fmla="*/ 6 w 618"/>
                    <a:gd name="T27" fmla="*/ 15 h 673"/>
                    <a:gd name="T28" fmla="*/ 5 w 618"/>
                    <a:gd name="T29" fmla="*/ 15 h 673"/>
                    <a:gd name="T30" fmla="*/ 4 w 618"/>
                    <a:gd name="T31" fmla="*/ 15 h 673"/>
                    <a:gd name="T32" fmla="*/ 3 w 618"/>
                    <a:gd name="T33" fmla="*/ 13 h 673"/>
                    <a:gd name="T34" fmla="*/ 1 w 618"/>
                    <a:gd name="T35" fmla="*/ 14 h 673"/>
                    <a:gd name="T36" fmla="*/ 1 w 618"/>
                    <a:gd name="T37" fmla="*/ 13 h 673"/>
                    <a:gd name="T38" fmla="*/ 0 w 618"/>
                    <a:gd name="T39" fmla="*/ 11 h 673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618"/>
                    <a:gd name="T61" fmla="*/ 0 h 673"/>
                    <a:gd name="T62" fmla="*/ 618 w 618"/>
                    <a:gd name="T63" fmla="*/ 673 h 673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618" h="673">
                      <a:moveTo>
                        <a:pt x="0" y="468"/>
                      </a:moveTo>
                      <a:lnTo>
                        <a:pt x="26" y="418"/>
                      </a:lnTo>
                      <a:lnTo>
                        <a:pt x="56" y="450"/>
                      </a:lnTo>
                      <a:lnTo>
                        <a:pt x="248" y="435"/>
                      </a:lnTo>
                      <a:lnTo>
                        <a:pt x="208" y="0"/>
                      </a:lnTo>
                      <a:lnTo>
                        <a:pt x="279" y="0"/>
                      </a:lnTo>
                      <a:lnTo>
                        <a:pt x="583" y="236"/>
                      </a:lnTo>
                      <a:lnTo>
                        <a:pt x="585" y="275"/>
                      </a:lnTo>
                      <a:lnTo>
                        <a:pt x="617" y="271"/>
                      </a:lnTo>
                      <a:lnTo>
                        <a:pt x="618" y="409"/>
                      </a:lnTo>
                      <a:lnTo>
                        <a:pt x="591" y="439"/>
                      </a:lnTo>
                      <a:lnTo>
                        <a:pt x="467" y="458"/>
                      </a:lnTo>
                      <a:lnTo>
                        <a:pt x="310" y="537"/>
                      </a:lnTo>
                      <a:lnTo>
                        <a:pt x="261" y="665"/>
                      </a:lnTo>
                      <a:lnTo>
                        <a:pt x="223" y="649"/>
                      </a:lnTo>
                      <a:lnTo>
                        <a:pt x="155" y="673"/>
                      </a:lnTo>
                      <a:lnTo>
                        <a:pt x="117" y="566"/>
                      </a:lnTo>
                      <a:lnTo>
                        <a:pt x="53" y="592"/>
                      </a:lnTo>
                      <a:lnTo>
                        <a:pt x="26" y="569"/>
                      </a:lnTo>
                      <a:lnTo>
                        <a:pt x="0" y="46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8" name="Freeform 461"/>
                <p:cNvSpPr/>
                <p:nvPr/>
              </p:nvSpPr>
              <p:spPr bwMode="auto">
                <a:xfrm>
                  <a:off x="938770" y="3381265"/>
                  <a:ext cx="224068" cy="260953"/>
                </a:xfrm>
                <a:custGeom>
                  <a:avLst/>
                  <a:gdLst>
                    <a:gd name="T0" fmla="*/ 0 w 467"/>
                    <a:gd name="T1" fmla="*/ 7 h 575"/>
                    <a:gd name="T2" fmla="*/ 1 w 467"/>
                    <a:gd name="T3" fmla="*/ 7 h 575"/>
                    <a:gd name="T4" fmla="*/ 1 w 467"/>
                    <a:gd name="T5" fmla="*/ 9 h 575"/>
                    <a:gd name="T6" fmla="*/ 0 w 467"/>
                    <a:gd name="T7" fmla="*/ 12 h 575"/>
                    <a:gd name="T8" fmla="*/ 2 w 467"/>
                    <a:gd name="T9" fmla="*/ 11 h 575"/>
                    <a:gd name="T10" fmla="*/ 4 w 467"/>
                    <a:gd name="T11" fmla="*/ 13 h 575"/>
                    <a:gd name="T12" fmla="*/ 5 w 467"/>
                    <a:gd name="T13" fmla="*/ 12 h 575"/>
                    <a:gd name="T14" fmla="*/ 6 w 467"/>
                    <a:gd name="T15" fmla="*/ 13 h 575"/>
                    <a:gd name="T16" fmla="*/ 10 w 467"/>
                    <a:gd name="T17" fmla="*/ 13 h 575"/>
                    <a:gd name="T18" fmla="*/ 9 w 467"/>
                    <a:gd name="T19" fmla="*/ 3 h 575"/>
                    <a:gd name="T20" fmla="*/ 11 w 467"/>
                    <a:gd name="T21" fmla="*/ 3 h 575"/>
                    <a:gd name="T22" fmla="*/ 7 w 467"/>
                    <a:gd name="T23" fmla="*/ 0 h 575"/>
                    <a:gd name="T24" fmla="*/ 7 w 467"/>
                    <a:gd name="T25" fmla="*/ 1 h 575"/>
                    <a:gd name="T26" fmla="*/ 5 w 467"/>
                    <a:gd name="T27" fmla="*/ 1 h 575"/>
                    <a:gd name="T28" fmla="*/ 5 w 467"/>
                    <a:gd name="T29" fmla="*/ 4 h 575"/>
                    <a:gd name="T30" fmla="*/ 3 w 467"/>
                    <a:gd name="T31" fmla="*/ 5 h 575"/>
                    <a:gd name="T32" fmla="*/ 4 w 467"/>
                    <a:gd name="T33" fmla="*/ 6 h 575"/>
                    <a:gd name="T34" fmla="*/ 0 w 467"/>
                    <a:gd name="T35" fmla="*/ 7 h 57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467"/>
                    <a:gd name="T55" fmla="*/ 0 h 575"/>
                    <a:gd name="T56" fmla="*/ 467 w 467"/>
                    <a:gd name="T57" fmla="*/ 575 h 57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467" h="575">
                      <a:moveTo>
                        <a:pt x="0" y="288"/>
                      </a:moveTo>
                      <a:lnTo>
                        <a:pt x="30" y="320"/>
                      </a:lnTo>
                      <a:lnTo>
                        <a:pt x="36" y="408"/>
                      </a:lnTo>
                      <a:lnTo>
                        <a:pt x="13" y="515"/>
                      </a:lnTo>
                      <a:lnTo>
                        <a:pt x="101" y="492"/>
                      </a:lnTo>
                      <a:lnTo>
                        <a:pt x="188" y="575"/>
                      </a:lnTo>
                      <a:lnTo>
                        <a:pt x="214" y="525"/>
                      </a:lnTo>
                      <a:lnTo>
                        <a:pt x="244" y="557"/>
                      </a:lnTo>
                      <a:lnTo>
                        <a:pt x="436" y="542"/>
                      </a:lnTo>
                      <a:lnTo>
                        <a:pt x="396" y="107"/>
                      </a:lnTo>
                      <a:lnTo>
                        <a:pt x="467" y="107"/>
                      </a:lnTo>
                      <a:lnTo>
                        <a:pt x="322" y="0"/>
                      </a:lnTo>
                      <a:lnTo>
                        <a:pt x="317" y="58"/>
                      </a:lnTo>
                      <a:lnTo>
                        <a:pt x="197" y="54"/>
                      </a:lnTo>
                      <a:lnTo>
                        <a:pt x="196" y="176"/>
                      </a:lnTo>
                      <a:lnTo>
                        <a:pt x="152" y="199"/>
                      </a:lnTo>
                      <a:lnTo>
                        <a:pt x="156" y="270"/>
                      </a:lnTo>
                      <a:lnTo>
                        <a:pt x="0" y="28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9" name="Freeform 462"/>
                <p:cNvSpPr/>
                <p:nvPr/>
              </p:nvSpPr>
              <p:spPr bwMode="auto">
                <a:xfrm>
                  <a:off x="1012898" y="3196688"/>
                  <a:ext cx="213960" cy="176621"/>
                </a:xfrm>
                <a:custGeom>
                  <a:avLst/>
                  <a:gdLst>
                    <a:gd name="T0" fmla="*/ 0 w 447"/>
                    <a:gd name="T1" fmla="*/ 9 h 392"/>
                    <a:gd name="T2" fmla="*/ 3 w 447"/>
                    <a:gd name="T3" fmla="*/ 7 h 392"/>
                    <a:gd name="T4" fmla="*/ 3 w 447"/>
                    <a:gd name="T5" fmla="*/ 3 h 392"/>
                    <a:gd name="T6" fmla="*/ 6 w 447"/>
                    <a:gd name="T7" fmla="*/ 2 h 392"/>
                    <a:gd name="T8" fmla="*/ 6 w 447"/>
                    <a:gd name="T9" fmla="*/ 0 h 392"/>
                    <a:gd name="T10" fmla="*/ 9 w 447"/>
                    <a:gd name="T11" fmla="*/ 1 h 392"/>
                    <a:gd name="T12" fmla="*/ 10 w 447"/>
                    <a:gd name="T13" fmla="*/ 4 h 392"/>
                    <a:gd name="T14" fmla="*/ 9 w 447"/>
                    <a:gd name="T15" fmla="*/ 4 h 392"/>
                    <a:gd name="T16" fmla="*/ 8 w 447"/>
                    <a:gd name="T17" fmla="*/ 4 h 392"/>
                    <a:gd name="T18" fmla="*/ 8 w 447"/>
                    <a:gd name="T19" fmla="*/ 5 h 392"/>
                    <a:gd name="T20" fmla="*/ 4 w 447"/>
                    <a:gd name="T21" fmla="*/ 7 h 392"/>
                    <a:gd name="T22" fmla="*/ 4 w 447"/>
                    <a:gd name="T23" fmla="*/ 9 h 392"/>
                    <a:gd name="T24" fmla="*/ 0 w 447"/>
                    <a:gd name="T25" fmla="*/ 9 h 39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447"/>
                    <a:gd name="T40" fmla="*/ 0 h 392"/>
                    <a:gd name="T41" fmla="*/ 447 w 447"/>
                    <a:gd name="T42" fmla="*/ 392 h 392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447" h="392">
                      <a:moveTo>
                        <a:pt x="0" y="387"/>
                      </a:moveTo>
                      <a:lnTo>
                        <a:pt x="109" y="311"/>
                      </a:lnTo>
                      <a:lnTo>
                        <a:pt x="149" y="157"/>
                      </a:lnTo>
                      <a:lnTo>
                        <a:pt x="242" y="77"/>
                      </a:lnTo>
                      <a:lnTo>
                        <a:pt x="273" y="0"/>
                      </a:lnTo>
                      <a:lnTo>
                        <a:pt x="409" y="26"/>
                      </a:lnTo>
                      <a:lnTo>
                        <a:pt x="447" y="172"/>
                      </a:lnTo>
                      <a:lnTo>
                        <a:pt x="387" y="175"/>
                      </a:lnTo>
                      <a:lnTo>
                        <a:pt x="352" y="192"/>
                      </a:lnTo>
                      <a:lnTo>
                        <a:pt x="359" y="230"/>
                      </a:lnTo>
                      <a:lnTo>
                        <a:pt x="184" y="317"/>
                      </a:lnTo>
                      <a:lnTo>
                        <a:pt x="163" y="392"/>
                      </a:lnTo>
                      <a:lnTo>
                        <a:pt x="0" y="38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0" name="Freeform 463"/>
                <p:cNvSpPr/>
                <p:nvPr/>
              </p:nvSpPr>
              <p:spPr bwMode="auto">
                <a:xfrm>
                  <a:off x="1801349" y="4148213"/>
                  <a:ext cx="192058" cy="335739"/>
                </a:xfrm>
                <a:custGeom>
                  <a:avLst/>
                  <a:gdLst>
                    <a:gd name="T0" fmla="*/ 0 w 398"/>
                    <a:gd name="T1" fmla="*/ 5 h 739"/>
                    <a:gd name="T2" fmla="*/ 0 w 398"/>
                    <a:gd name="T3" fmla="*/ 5 h 739"/>
                    <a:gd name="T4" fmla="*/ 2 w 398"/>
                    <a:gd name="T5" fmla="*/ 6 h 739"/>
                    <a:gd name="T6" fmla="*/ 3 w 398"/>
                    <a:gd name="T7" fmla="*/ 7 h 739"/>
                    <a:gd name="T8" fmla="*/ 3 w 398"/>
                    <a:gd name="T9" fmla="*/ 10 h 739"/>
                    <a:gd name="T10" fmla="*/ 1 w 398"/>
                    <a:gd name="T11" fmla="*/ 13 h 739"/>
                    <a:gd name="T12" fmla="*/ 2 w 398"/>
                    <a:gd name="T13" fmla="*/ 16 h 739"/>
                    <a:gd name="T14" fmla="*/ 2 w 398"/>
                    <a:gd name="T15" fmla="*/ 17 h 739"/>
                    <a:gd name="T16" fmla="*/ 3 w 398"/>
                    <a:gd name="T17" fmla="*/ 17 h 739"/>
                    <a:gd name="T18" fmla="*/ 3 w 398"/>
                    <a:gd name="T19" fmla="*/ 16 h 739"/>
                    <a:gd name="T20" fmla="*/ 5 w 398"/>
                    <a:gd name="T21" fmla="*/ 15 h 739"/>
                    <a:gd name="T22" fmla="*/ 4 w 398"/>
                    <a:gd name="T23" fmla="*/ 10 h 739"/>
                    <a:gd name="T24" fmla="*/ 9 w 398"/>
                    <a:gd name="T25" fmla="*/ 5 h 739"/>
                    <a:gd name="T26" fmla="*/ 9 w 398"/>
                    <a:gd name="T27" fmla="*/ 0 h 739"/>
                    <a:gd name="T28" fmla="*/ 8 w 398"/>
                    <a:gd name="T29" fmla="*/ 1 h 739"/>
                    <a:gd name="T30" fmla="*/ 4 w 398"/>
                    <a:gd name="T31" fmla="*/ 1 h 739"/>
                    <a:gd name="T32" fmla="*/ 4 w 398"/>
                    <a:gd name="T33" fmla="*/ 3 h 739"/>
                    <a:gd name="T34" fmla="*/ 5 w 398"/>
                    <a:gd name="T35" fmla="*/ 5 h 739"/>
                    <a:gd name="T36" fmla="*/ 5 w 398"/>
                    <a:gd name="T37" fmla="*/ 7 h 739"/>
                    <a:gd name="T38" fmla="*/ 4 w 398"/>
                    <a:gd name="T39" fmla="*/ 6 h 739"/>
                    <a:gd name="T40" fmla="*/ 4 w 398"/>
                    <a:gd name="T41" fmla="*/ 4 h 739"/>
                    <a:gd name="T42" fmla="*/ 3 w 398"/>
                    <a:gd name="T43" fmla="*/ 4 h 739"/>
                    <a:gd name="T44" fmla="*/ 0 w 398"/>
                    <a:gd name="T45" fmla="*/ 5 h 73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398"/>
                    <a:gd name="T70" fmla="*/ 0 h 739"/>
                    <a:gd name="T71" fmla="*/ 398 w 398"/>
                    <a:gd name="T72" fmla="*/ 739 h 739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398" h="739">
                      <a:moveTo>
                        <a:pt x="0" y="206"/>
                      </a:moveTo>
                      <a:lnTo>
                        <a:pt x="8" y="230"/>
                      </a:lnTo>
                      <a:lnTo>
                        <a:pt x="102" y="263"/>
                      </a:lnTo>
                      <a:lnTo>
                        <a:pt x="113" y="310"/>
                      </a:lnTo>
                      <a:lnTo>
                        <a:pt x="105" y="428"/>
                      </a:lnTo>
                      <a:lnTo>
                        <a:pt x="57" y="549"/>
                      </a:lnTo>
                      <a:lnTo>
                        <a:pt x="73" y="693"/>
                      </a:lnTo>
                      <a:lnTo>
                        <a:pt x="77" y="739"/>
                      </a:lnTo>
                      <a:lnTo>
                        <a:pt x="104" y="739"/>
                      </a:lnTo>
                      <a:lnTo>
                        <a:pt x="104" y="689"/>
                      </a:lnTo>
                      <a:lnTo>
                        <a:pt x="205" y="622"/>
                      </a:lnTo>
                      <a:lnTo>
                        <a:pt x="175" y="428"/>
                      </a:lnTo>
                      <a:lnTo>
                        <a:pt x="396" y="229"/>
                      </a:lnTo>
                      <a:lnTo>
                        <a:pt x="398" y="0"/>
                      </a:lnTo>
                      <a:lnTo>
                        <a:pt x="342" y="39"/>
                      </a:lnTo>
                      <a:lnTo>
                        <a:pt x="188" y="52"/>
                      </a:lnTo>
                      <a:lnTo>
                        <a:pt x="187" y="134"/>
                      </a:lnTo>
                      <a:lnTo>
                        <a:pt x="227" y="200"/>
                      </a:lnTo>
                      <a:lnTo>
                        <a:pt x="203" y="298"/>
                      </a:lnTo>
                      <a:lnTo>
                        <a:pt x="164" y="244"/>
                      </a:lnTo>
                      <a:lnTo>
                        <a:pt x="167" y="180"/>
                      </a:lnTo>
                      <a:lnTo>
                        <a:pt x="119" y="161"/>
                      </a:lnTo>
                      <a:lnTo>
                        <a:pt x="0" y="20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1" name="Freeform 464"/>
                <p:cNvSpPr/>
                <p:nvPr/>
              </p:nvSpPr>
              <p:spPr bwMode="auto">
                <a:xfrm>
                  <a:off x="1253814" y="3462415"/>
                  <a:ext cx="291457" cy="241859"/>
                </a:xfrm>
                <a:custGeom>
                  <a:avLst/>
                  <a:gdLst>
                    <a:gd name="T0" fmla="*/ 0 w 607"/>
                    <a:gd name="T1" fmla="*/ 9 h 535"/>
                    <a:gd name="T2" fmla="*/ 0 w 607"/>
                    <a:gd name="T3" fmla="*/ 10 h 535"/>
                    <a:gd name="T4" fmla="*/ 2 w 607"/>
                    <a:gd name="T5" fmla="*/ 12 h 535"/>
                    <a:gd name="T6" fmla="*/ 2 w 607"/>
                    <a:gd name="T7" fmla="*/ 12 h 535"/>
                    <a:gd name="T8" fmla="*/ 3 w 607"/>
                    <a:gd name="T9" fmla="*/ 12 h 535"/>
                    <a:gd name="T10" fmla="*/ 4 w 607"/>
                    <a:gd name="T11" fmla="*/ 10 h 535"/>
                    <a:gd name="T12" fmla="*/ 8 w 607"/>
                    <a:gd name="T13" fmla="*/ 11 h 535"/>
                    <a:gd name="T14" fmla="*/ 11 w 607"/>
                    <a:gd name="T15" fmla="*/ 10 h 535"/>
                    <a:gd name="T16" fmla="*/ 12 w 607"/>
                    <a:gd name="T17" fmla="*/ 10 h 535"/>
                    <a:gd name="T18" fmla="*/ 13 w 607"/>
                    <a:gd name="T19" fmla="*/ 7 h 535"/>
                    <a:gd name="T20" fmla="*/ 14 w 607"/>
                    <a:gd name="T21" fmla="*/ 3 h 535"/>
                    <a:gd name="T22" fmla="*/ 13 w 607"/>
                    <a:gd name="T23" fmla="*/ 2 h 535"/>
                    <a:gd name="T24" fmla="*/ 13 w 607"/>
                    <a:gd name="T25" fmla="*/ 1 h 535"/>
                    <a:gd name="T26" fmla="*/ 10 w 607"/>
                    <a:gd name="T27" fmla="*/ 0 h 535"/>
                    <a:gd name="T28" fmla="*/ 5 w 607"/>
                    <a:gd name="T29" fmla="*/ 4 h 535"/>
                    <a:gd name="T30" fmla="*/ 3 w 607"/>
                    <a:gd name="T31" fmla="*/ 5 h 535"/>
                    <a:gd name="T32" fmla="*/ 3 w 607"/>
                    <a:gd name="T33" fmla="*/ 8 h 535"/>
                    <a:gd name="T34" fmla="*/ 3 w 607"/>
                    <a:gd name="T35" fmla="*/ 9 h 535"/>
                    <a:gd name="T36" fmla="*/ 0 w 607"/>
                    <a:gd name="T37" fmla="*/ 9 h 535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607"/>
                    <a:gd name="T58" fmla="*/ 0 h 535"/>
                    <a:gd name="T59" fmla="*/ 607 w 607"/>
                    <a:gd name="T60" fmla="*/ 535 h 535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607" h="535">
                      <a:moveTo>
                        <a:pt x="0" y="389"/>
                      </a:moveTo>
                      <a:lnTo>
                        <a:pt x="8" y="431"/>
                      </a:lnTo>
                      <a:lnTo>
                        <a:pt x="79" y="524"/>
                      </a:lnTo>
                      <a:lnTo>
                        <a:pt x="100" y="505"/>
                      </a:lnTo>
                      <a:lnTo>
                        <a:pt x="129" y="535"/>
                      </a:lnTo>
                      <a:lnTo>
                        <a:pt x="178" y="442"/>
                      </a:lnTo>
                      <a:lnTo>
                        <a:pt x="349" y="489"/>
                      </a:lnTo>
                      <a:lnTo>
                        <a:pt x="498" y="440"/>
                      </a:lnTo>
                      <a:lnTo>
                        <a:pt x="504" y="418"/>
                      </a:lnTo>
                      <a:lnTo>
                        <a:pt x="579" y="300"/>
                      </a:lnTo>
                      <a:lnTo>
                        <a:pt x="607" y="142"/>
                      </a:lnTo>
                      <a:lnTo>
                        <a:pt x="568" y="92"/>
                      </a:lnTo>
                      <a:lnTo>
                        <a:pt x="568" y="23"/>
                      </a:lnTo>
                      <a:lnTo>
                        <a:pt x="438" y="0"/>
                      </a:lnTo>
                      <a:lnTo>
                        <a:pt x="209" y="185"/>
                      </a:lnTo>
                      <a:lnTo>
                        <a:pt x="150" y="202"/>
                      </a:lnTo>
                      <a:lnTo>
                        <a:pt x="151" y="340"/>
                      </a:lnTo>
                      <a:lnTo>
                        <a:pt x="124" y="370"/>
                      </a:lnTo>
                      <a:lnTo>
                        <a:pt x="0" y="38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2" name="Freeform 465"/>
                <p:cNvSpPr/>
                <p:nvPr/>
              </p:nvSpPr>
              <p:spPr bwMode="auto">
                <a:xfrm>
                  <a:off x="1300986" y="3659721"/>
                  <a:ext cx="213960" cy="195715"/>
                </a:xfrm>
                <a:custGeom>
                  <a:avLst/>
                  <a:gdLst>
                    <a:gd name="T0" fmla="*/ 0 w 445"/>
                    <a:gd name="T1" fmla="*/ 8 h 429"/>
                    <a:gd name="T2" fmla="*/ 1 w 445"/>
                    <a:gd name="T3" fmla="*/ 2 h 429"/>
                    <a:gd name="T4" fmla="*/ 2 w 445"/>
                    <a:gd name="T5" fmla="*/ 0 h 429"/>
                    <a:gd name="T6" fmla="*/ 6 w 445"/>
                    <a:gd name="T7" fmla="*/ 1 h 429"/>
                    <a:gd name="T8" fmla="*/ 9 w 445"/>
                    <a:gd name="T9" fmla="*/ 0 h 429"/>
                    <a:gd name="T10" fmla="*/ 10 w 445"/>
                    <a:gd name="T11" fmla="*/ 1 h 429"/>
                    <a:gd name="T12" fmla="*/ 10 w 445"/>
                    <a:gd name="T13" fmla="*/ 2 h 429"/>
                    <a:gd name="T14" fmla="*/ 9 w 445"/>
                    <a:gd name="T15" fmla="*/ 3 h 429"/>
                    <a:gd name="T16" fmla="*/ 7 w 445"/>
                    <a:gd name="T17" fmla="*/ 8 h 429"/>
                    <a:gd name="T18" fmla="*/ 6 w 445"/>
                    <a:gd name="T19" fmla="*/ 7 h 429"/>
                    <a:gd name="T20" fmla="*/ 5 w 445"/>
                    <a:gd name="T21" fmla="*/ 9 h 429"/>
                    <a:gd name="T22" fmla="*/ 3 w 445"/>
                    <a:gd name="T23" fmla="*/ 10 h 429"/>
                    <a:gd name="T24" fmla="*/ 2 w 445"/>
                    <a:gd name="T25" fmla="*/ 8 h 429"/>
                    <a:gd name="T26" fmla="*/ 0 w 445"/>
                    <a:gd name="T27" fmla="*/ 8 h 429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445"/>
                    <a:gd name="T43" fmla="*/ 0 h 429"/>
                    <a:gd name="T44" fmla="*/ 445 w 445"/>
                    <a:gd name="T45" fmla="*/ 429 h 429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445" h="429">
                      <a:moveTo>
                        <a:pt x="0" y="335"/>
                      </a:moveTo>
                      <a:lnTo>
                        <a:pt x="29" y="95"/>
                      </a:lnTo>
                      <a:lnTo>
                        <a:pt x="78" y="2"/>
                      </a:lnTo>
                      <a:lnTo>
                        <a:pt x="249" y="49"/>
                      </a:lnTo>
                      <a:lnTo>
                        <a:pt x="398" y="0"/>
                      </a:lnTo>
                      <a:lnTo>
                        <a:pt x="428" y="57"/>
                      </a:lnTo>
                      <a:lnTo>
                        <a:pt x="445" y="95"/>
                      </a:lnTo>
                      <a:lnTo>
                        <a:pt x="406" y="130"/>
                      </a:lnTo>
                      <a:lnTo>
                        <a:pt x="323" y="324"/>
                      </a:lnTo>
                      <a:lnTo>
                        <a:pt x="252" y="312"/>
                      </a:lnTo>
                      <a:lnTo>
                        <a:pt x="214" y="404"/>
                      </a:lnTo>
                      <a:lnTo>
                        <a:pt x="128" y="429"/>
                      </a:lnTo>
                      <a:lnTo>
                        <a:pt x="78" y="347"/>
                      </a:lnTo>
                      <a:lnTo>
                        <a:pt x="0" y="33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3" name="Freeform 466"/>
                <p:cNvSpPr/>
                <p:nvPr/>
              </p:nvSpPr>
              <p:spPr bwMode="auto">
                <a:xfrm>
                  <a:off x="942140" y="3683589"/>
                  <a:ext cx="55596" cy="36597"/>
                </a:xfrm>
                <a:custGeom>
                  <a:avLst/>
                  <a:gdLst>
                    <a:gd name="T0" fmla="*/ 0 w 117"/>
                    <a:gd name="T1" fmla="*/ 0 h 79"/>
                    <a:gd name="T2" fmla="*/ 1 w 117"/>
                    <a:gd name="T3" fmla="*/ 1 h 79"/>
                    <a:gd name="T4" fmla="*/ 2 w 117"/>
                    <a:gd name="T5" fmla="*/ 1 h 79"/>
                    <a:gd name="T6" fmla="*/ 1 w 117"/>
                    <a:gd name="T7" fmla="*/ 1 h 79"/>
                    <a:gd name="T8" fmla="*/ 1 w 117"/>
                    <a:gd name="T9" fmla="*/ 2 h 79"/>
                    <a:gd name="T10" fmla="*/ 3 w 117"/>
                    <a:gd name="T11" fmla="*/ 1 h 79"/>
                    <a:gd name="T12" fmla="*/ 3 w 117"/>
                    <a:gd name="T13" fmla="*/ 0 h 79"/>
                    <a:gd name="T14" fmla="*/ 0 w 117"/>
                    <a:gd name="T15" fmla="*/ 0 h 7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17"/>
                    <a:gd name="T25" fmla="*/ 0 h 79"/>
                    <a:gd name="T26" fmla="*/ 117 w 117"/>
                    <a:gd name="T27" fmla="*/ 79 h 7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17" h="79">
                      <a:moveTo>
                        <a:pt x="0" y="9"/>
                      </a:moveTo>
                      <a:lnTo>
                        <a:pt x="38" y="44"/>
                      </a:lnTo>
                      <a:lnTo>
                        <a:pt x="72" y="33"/>
                      </a:lnTo>
                      <a:lnTo>
                        <a:pt x="54" y="44"/>
                      </a:lnTo>
                      <a:lnTo>
                        <a:pt x="68" y="79"/>
                      </a:lnTo>
                      <a:lnTo>
                        <a:pt x="114" y="44"/>
                      </a:lnTo>
                      <a:lnTo>
                        <a:pt x="117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4" name="Freeform 467"/>
                <p:cNvSpPr/>
                <p:nvPr/>
              </p:nvSpPr>
              <p:spPr bwMode="auto">
                <a:xfrm>
                  <a:off x="2182096" y="3405133"/>
                  <a:ext cx="10108" cy="35006"/>
                </a:xfrm>
                <a:custGeom>
                  <a:avLst/>
                  <a:gdLst>
                    <a:gd name="T0" fmla="*/ 0 w 22"/>
                    <a:gd name="T1" fmla="*/ 1 h 74"/>
                    <a:gd name="T2" fmla="*/ 0 w 22"/>
                    <a:gd name="T3" fmla="*/ 2 h 74"/>
                    <a:gd name="T4" fmla="*/ 1 w 22"/>
                    <a:gd name="T5" fmla="*/ 2 h 74"/>
                    <a:gd name="T6" fmla="*/ 0 w 22"/>
                    <a:gd name="T7" fmla="*/ 0 h 74"/>
                    <a:gd name="T8" fmla="*/ 0 w 22"/>
                    <a:gd name="T9" fmla="*/ 1 h 7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2"/>
                    <a:gd name="T16" fmla="*/ 0 h 74"/>
                    <a:gd name="T17" fmla="*/ 22 w 22"/>
                    <a:gd name="T18" fmla="*/ 74 h 7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2" h="74">
                      <a:moveTo>
                        <a:pt x="0" y="61"/>
                      </a:moveTo>
                      <a:lnTo>
                        <a:pt x="10" y="74"/>
                      </a:lnTo>
                      <a:lnTo>
                        <a:pt x="22" y="70"/>
                      </a:lnTo>
                      <a:lnTo>
                        <a:pt x="12" y="0"/>
                      </a:lnTo>
                      <a:lnTo>
                        <a:pt x="0" y="61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5" name="Freeform 468"/>
                <p:cNvSpPr/>
                <p:nvPr/>
              </p:nvSpPr>
              <p:spPr bwMode="auto">
                <a:xfrm>
                  <a:off x="1782817" y="3958863"/>
                  <a:ext cx="32010" cy="33415"/>
                </a:xfrm>
                <a:custGeom>
                  <a:avLst/>
                  <a:gdLst>
                    <a:gd name="T0" fmla="*/ 0 w 66"/>
                    <a:gd name="T1" fmla="*/ 2 h 72"/>
                    <a:gd name="T2" fmla="*/ 1 w 66"/>
                    <a:gd name="T3" fmla="*/ 0 h 72"/>
                    <a:gd name="T4" fmla="*/ 1 w 66"/>
                    <a:gd name="T5" fmla="*/ 0 h 72"/>
                    <a:gd name="T6" fmla="*/ 1 w 66"/>
                    <a:gd name="T7" fmla="*/ 1 h 72"/>
                    <a:gd name="T8" fmla="*/ 0 w 66"/>
                    <a:gd name="T9" fmla="*/ 2 h 7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66"/>
                    <a:gd name="T16" fmla="*/ 0 h 72"/>
                    <a:gd name="T17" fmla="*/ 66 w 66"/>
                    <a:gd name="T18" fmla="*/ 72 h 7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66" h="72">
                      <a:moveTo>
                        <a:pt x="0" y="72"/>
                      </a:moveTo>
                      <a:lnTo>
                        <a:pt x="29" y="12"/>
                      </a:lnTo>
                      <a:lnTo>
                        <a:pt x="56" y="0"/>
                      </a:lnTo>
                      <a:lnTo>
                        <a:pt x="66" y="57"/>
                      </a:lnTo>
                      <a:lnTo>
                        <a:pt x="0" y="7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6" name="Freeform 469"/>
                <p:cNvSpPr/>
                <p:nvPr/>
              </p:nvSpPr>
              <p:spPr bwMode="auto">
                <a:xfrm>
                  <a:off x="928662" y="3604030"/>
                  <a:ext cx="112876" cy="82741"/>
                </a:xfrm>
                <a:custGeom>
                  <a:avLst/>
                  <a:gdLst>
                    <a:gd name="T0" fmla="*/ 0 w 233"/>
                    <a:gd name="T1" fmla="*/ 2 h 184"/>
                    <a:gd name="T2" fmla="*/ 1 w 233"/>
                    <a:gd name="T3" fmla="*/ 3 h 184"/>
                    <a:gd name="T4" fmla="*/ 3 w 233"/>
                    <a:gd name="T5" fmla="*/ 3 h 184"/>
                    <a:gd name="T6" fmla="*/ 1 w 233"/>
                    <a:gd name="T7" fmla="*/ 4 h 184"/>
                    <a:gd name="T8" fmla="*/ 1 w 233"/>
                    <a:gd name="T9" fmla="*/ 4 h 184"/>
                    <a:gd name="T10" fmla="*/ 3 w 233"/>
                    <a:gd name="T11" fmla="*/ 4 h 184"/>
                    <a:gd name="T12" fmla="*/ 5 w 233"/>
                    <a:gd name="T13" fmla="*/ 4 h 184"/>
                    <a:gd name="T14" fmla="*/ 5 w 233"/>
                    <a:gd name="T15" fmla="*/ 2 h 184"/>
                    <a:gd name="T16" fmla="*/ 3 w 233"/>
                    <a:gd name="T17" fmla="*/ 0 h 184"/>
                    <a:gd name="T18" fmla="*/ 1 w 233"/>
                    <a:gd name="T19" fmla="*/ 1 h 184"/>
                    <a:gd name="T20" fmla="*/ 0 w 233"/>
                    <a:gd name="T21" fmla="*/ 2 h 18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33"/>
                    <a:gd name="T34" fmla="*/ 0 h 184"/>
                    <a:gd name="T35" fmla="*/ 233 w 233"/>
                    <a:gd name="T36" fmla="*/ 184 h 18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33" h="184">
                      <a:moveTo>
                        <a:pt x="0" y="83"/>
                      </a:moveTo>
                      <a:lnTo>
                        <a:pt x="32" y="134"/>
                      </a:lnTo>
                      <a:lnTo>
                        <a:pt x="139" y="143"/>
                      </a:lnTo>
                      <a:lnTo>
                        <a:pt x="25" y="160"/>
                      </a:lnTo>
                      <a:lnTo>
                        <a:pt x="25" y="184"/>
                      </a:lnTo>
                      <a:lnTo>
                        <a:pt x="142" y="175"/>
                      </a:lnTo>
                      <a:lnTo>
                        <a:pt x="233" y="184"/>
                      </a:lnTo>
                      <a:lnTo>
                        <a:pt x="207" y="83"/>
                      </a:lnTo>
                      <a:lnTo>
                        <a:pt x="120" y="0"/>
                      </a:lnTo>
                      <a:lnTo>
                        <a:pt x="32" y="23"/>
                      </a:lnTo>
                      <a:lnTo>
                        <a:pt x="0" y="8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7" name="Freeform 470"/>
                <p:cNvSpPr/>
                <p:nvPr/>
              </p:nvSpPr>
              <p:spPr bwMode="auto">
                <a:xfrm>
                  <a:off x="1007844" y="3740871"/>
                  <a:ext cx="57281" cy="58874"/>
                </a:xfrm>
                <a:custGeom>
                  <a:avLst/>
                  <a:gdLst>
                    <a:gd name="T0" fmla="*/ 0 w 116"/>
                    <a:gd name="T1" fmla="*/ 1 h 133"/>
                    <a:gd name="T2" fmla="*/ 0 w 116"/>
                    <a:gd name="T3" fmla="*/ 2 h 133"/>
                    <a:gd name="T4" fmla="*/ 2 w 116"/>
                    <a:gd name="T5" fmla="*/ 3 h 133"/>
                    <a:gd name="T6" fmla="*/ 3 w 116"/>
                    <a:gd name="T7" fmla="*/ 1 h 133"/>
                    <a:gd name="T8" fmla="*/ 2 w 116"/>
                    <a:gd name="T9" fmla="*/ 0 h 133"/>
                    <a:gd name="T10" fmla="*/ 0 w 116"/>
                    <a:gd name="T11" fmla="*/ 1 h 13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16"/>
                    <a:gd name="T19" fmla="*/ 0 h 133"/>
                    <a:gd name="T20" fmla="*/ 116 w 116"/>
                    <a:gd name="T21" fmla="*/ 133 h 13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16" h="133">
                      <a:moveTo>
                        <a:pt x="0" y="37"/>
                      </a:moveTo>
                      <a:lnTo>
                        <a:pt x="11" y="89"/>
                      </a:lnTo>
                      <a:lnTo>
                        <a:pt x="67" y="133"/>
                      </a:lnTo>
                      <a:lnTo>
                        <a:pt x="116" y="66"/>
                      </a:lnTo>
                      <a:lnTo>
                        <a:pt x="76" y="0"/>
                      </a:lnTo>
                      <a:lnTo>
                        <a:pt x="0" y="3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8" name="Freeform 471"/>
                <p:cNvSpPr/>
                <p:nvPr/>
              </p:nvSpPr>
              <p:spPr bwMode="auto">
                <a:xfrm>
                  <a:off x="2003515" y="3699501"/>
                  <a:ext cx="187004" cy="273683"/>
                </a:xfrm>
                <a:custGeom>
                  <a:avLst/>
                  <a:gdLst>
                    <a:gd name="T0" fmla="*/ 0 w 390"/>
                    <a:gd name="T1" fmla="*/ 13 h 602"/>
                    <a:gd name="T2" fmla="*/ 0 w 390"/>
                    <a:gd name="T3" fmla="*/ 9 h 602"/>
                    <a:gd name="T4" fmla="*/ 1 w 390"/>
                    <a:gd name="T5" fmla="*/ 8 h 602"/>
                    <a:gd name="T6" fmla="*/ 3 w 390"/>
                    <a:gd name="T7" fmla="*/ 7 h 602"/>
                    <a:gd name="T8" fmla="*/ 6 w 390"/>
                    <a:gd name="T9" fmla="*/ 4 h 602"/>
                    <a:gd name="T10" fmla="*/ 3 w 390"/>
                    <a:gd name="T11" fmla="*/ 3 h 602"/>
                    <a:gd name="T12" fmla="*/ 2 w 390"/>
                    <a:gd name="T13" fmla="*/ 1 h 602"/>
                    <a:gd name="T14" fmla="*/ 2 w 390"/>
                    <a:gd name="T15" fmla="*/ 1 h 602"/>
                    <a:gd name="T16" fmla="*/ 3 w 390"/>
                    <a:gd name="T17" fmla="*/ 2 h 602"/>
                    <a:gd name="T18" fmla="*/ 9 w 390"/>
                    <a:gd name="T19" fmla="*/ 0 h 602"/>
                    <a:gd name="T20" fmla="*/ 9 w 390"/>
                    <a:gd name="T21" fmla="*/ 2 h 602"/>
                    <a:gd name="T22" fmla="*/ 6 w 390"/>
                    <a:gd name="T23" fmla="*/ 8 h 602"/>
                    <a:gd name="T24" fmla="*/ 1 w 390"/>
                    <a:gd name="T25" fmla="*/ 14 h 602"/>
                    <a:gd name="T26" fmla="*/ 0 w 390"/>
                    <a:gd name="T27" fmla="*/ 13 h 602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390"/>
                    <a:gd name="T43" fmla="*/ 0 h 602"/>
                    <a:gd name="T44" fmla="*/ 390 w 390"/>
                    <a:gd name="T45" fmla="*/ 602 h 602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390" h="602">
                      <a:moveTo>
                        <a:pt x="0" y="565"/>
                      </a:moveTo>
                      <a:lnTo>
                        <a:pt x="0" y="403"/>
                      </a:lnTo>
                      <a:lnTo>
                        <a:pt x="32" y="354"/>
                      </a:lnTo>
                      <a:lnTo>
                        <a:pt x="151" y="305"/>
                      </a:lnTo>
                      <a:lnTo>
                        <a:pt x="268" y="173"/>
                      </a:lnTo>
                      <a:lnTo>
                        <a:pt x="115" y="128"/>
                      </a:lnTo>
                      <a:lnTo>
                        <a:pt x="71" y="48"/>
                      </a:lnTo>
                      <a:lnTo>
                        <a:pt x="84" y="23"/>
                      </a:lnTo>
                      <a:lnTo>
                        <a:pt x="145" y="70"/>
                      </a:lnTo>
                      <a:lnTo>
                        <a:pt x="373" y="0"/>
                      </a:lnTo>
                      <a:lnTo>
                        <a:pt x="390" y="70"/>
                      </a:lnTo>
                      <a:lnTo>
                        <a:pt x="255" y="351"/>
                      </a:lnTo>
                      <a:lnTo>
                        <a:pt x="20" y="602"/>
                      </a:lnTo>
                      <a:lnTo>
                        <a:pt x="0" y="56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29" name="Freeform 472"/>
                <p:cNvSpPr/>
                <p:nvPr/>
              </p:nvSpPr>
              <p:spPr bwMode="auto">
                <a:xfrm>
                  <a:off x="1710374" y="4253231"/>
                  <a:ext cx="144886" cy="144797"/>
                </a:xfrm>
                <a:custGeom>
                  <a:avLst/>
                  <a:gdLst>
                    <a:gd name="T0" fmla="*/ 0 w 301"/>
                    <a:gd name="T1" fmla="*/ 2 h 319"/>
                    <a:gd name="T2" fmla="*/ 1 w 301"/>
                    <a:gd name="T3" fmla="*/ 2 h 319"/>
                    <a:gd name="T4" fmla="*/ 3 w 301"/>
                    <a:gd name="T5" fmla="*/ 1 h 319"/>
                    <a:gd name="T6" fmla="*/ 3 w 301"/>
                    <a:gd name="T7" fmla="*/ 0 h 319"/>
                    <a:gd name="T8" fmla="*/ 5 w 301"/>
                    <a:gd name="T9" fmla="*/ 0 h 319"/>
                    <a:gd name="T10" fmla="*/ 7 w 301"/>
                    <a:gd name="T11" fmla="*/ 1 h 319"/>
                    <a:gd name="T12" fmla="*/ 7 w 301"/>
                    <a:gd name="T13" fmla="*/ 2 h 319"/>
                    <a:gd name="T14" fmla="*/ 7 w 301"/>
                    <a:gd name="T15" fmla="*/ 5 h 319"/>
                    <a:gd name="T16" fmla="*/ 6 w 301"/>
                    <a:gd name="T17" fmla="*/ 7 h 319"/>
                    <a:gd name="T18" fmla="*/ 4 w 301"/>
                    <a:gd name="T19" fmla="*/ 7 h 319"/>
                    <a:gd name="T20" fmla="*/ 3 w 301"/>
                    <a:gd name="T21" fmla="*/ 6 h 319"/>
                    <a:gd name="T22" fmla="*/ 0 w 301"/>
                    <a:gd name="T23" fmla="*/ 2 h 31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301"/>
                    <a:gd name="T37" fmla="*/ 0 h 319"/>
                    <a:gd name="T38" fmla="*/ 301 w 301"/>
                    <a:gd name="T39" fmla="*/ 319 h 319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301" h="319">
                      <a:moveTo>
                        <a:pt x="0" y="99"/>
                      </a:moveTo>
                      <a:lnTo>
                        <a:pt x="66" y="100"/>
                      </a:lnTo>
                      <a:lnTo>
                        <a:pt x="133" y="41"/>
                      </a:lnTo>
                      <a:lnTo>
                        <a:pt x="135" y="14"/>
                      </a:lnTo>
                      <a:lnTo>
                        <a:pt x="196" y="0"/>
                      </a:lnTo>
                      <a:lnTo>
                        <a:pt x="290" y="33"/>
                      </a:lnTo>
                      <a:lnTo>
                        <a:pt x="301" y="80"/>
                      </a:lnTo>
                      <a:lnTo>
                        <a:pt x="293" y="198"/>
                      </a:lnTo>
                      <a:lnTo>
                        <a:pt x="245" y="319"/>
                      </a:lnTo>
                      <a:lnTo>
                        <a:pt x="157" y="296"/>
                      </a:lnTo>
                      <a:lnTo>
                        <a:pt x="105" y="268"/>
                      </a:lnTo>
                      <a:lnTo>
                        <a:pt x="0" y="9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0" name="Freeform 473"/>
                <p:cNvSpPr/>
                <p:nvPr/>
              </p:nvSpPr>
              <p:spPr bwMode="auto">
                <a:xfrm>
                  <a:off x="1461035" y="4278690"/>
                  <a:ext cx="249339" cy="256180"/>
                </a:xfrm>
                <a:custGeom>
                  <a:avLst/>
                  <a:gdLst>
                    <a:gd name="T0" fmla="*/ 0 w 520"/>
                    <a:gd name="T1" fmla="*/ 0 h 565"/>
                    <a:gd name="T2" fmla="*/ 1 w 520"/>
                    <a:gd name="T3" fmla="*/ 0 h 565"/>
                    <a:gd name="T4" fmla="*/ 9 w 520"/>
                    <a:gd name="T5" fmla="*/ 1 h 565"/>
                    <a:gd name="T6" fmla="*/ 10 w 520"/>
                    <a:gd name="T7" fmla="*/ 1 h 565"/>
                    <a:gd name="T8" fmla="*/ 12 w 520"/>
                    <a:gd name="T9" fmla="*/ 1 h 565"/>
                    <a:gd name="T10" fmla="*/ 11 w 520"/>
                    <a:gd name="T11" fmla="*/ 2 h 565"/>
                    <a:gd name="T12" fmla="*/ 10 w 520"/>
                    <a:gd name="T13" fmla="*/ 1 h 565"/>
                    <a:gd name="T14" fmla="*/ 8 w 520"/>
                    <a:gd name="T15" fmla="*/ 2 h 565"/>
                    <a:gd name="T16" fmla="*/ 8 w 520"/>
                    <a:gd name="T17" fmla="*/ 5 h 565"/>
                    <a:gd name="T18" fmla="*/ 7 w 520"/>
                    <a:gd name="T19" fmla="*/ 5 h 565"/>
                    <a:gd name="T20" fmla="*/ 7 w 520"/>
                    <a:gd name="T21" fmla="*/ 8 h 565"/>
                    <a:gd name="T22" fmla="*/ 7 w 520"/>
                    <a:gd name="T23" fmla="*/ 13 h 565"/>
                    <a:gd name="T24" fmla="*/ 7 w 520"/>
                    <a:gd name="T25" fmla="*/ 13 h 565"/>
                    <a:gd name="T26" fmla="*/ 5 w 520"/>
                    <a:gd name="T27" fmla="*/ 13 h 565"/>
                    <a:gd name="T28" fmla="*/ 5 w 520"/>
                    <a:gd name="T29" fmla="*/ 12 h 565"/>
                    <a:gd name="T30" fmla="*/ 4 w 520"/>
                    <a:gd name="T31" fmla="*/ 13 h 565"/>
                    <a:gd name="T32" fmla="*/ 3 w 520"/>
                    <a:gd name="T33" fmla="*/ 11 h 565"/>
                    <a:gd name="T34" fmla="*/ 3 w 520"/>
                    <a:gd name="T35" fmla="*/ 7 h 565"/>
                    <a:gd name="T36" fmla="*/ 3 w 520"/>
                    <a:gd name="T37" fmla="*/ 6 h 565"/>
                    <a:gd name="T38" fmla="*/ 0 w 520"/>
                    <a:gd name="T39" fmla="*/ 0 h 565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520"/>
                    <a:gd name="T61" fmla="*/ 0 h 565"/>
                    <a:gd name="T62" fmla="*/ 520 w 520"/>
                    <a:gd name="T63" fmla="*/ 565 h 565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520" h="565">
                      <a:moveTo>
                        <a:pt x="0" y="19"/>
                      </a:moveTo>
                      <a:lnTo>
                        <a:pt x="63" y="0"/>
                      </a:lnTo>
                      <a:lnTo>
                        <a:pt x="376" y="54"/>
                      </a:lnTo>
                      <a:lnTo>
                        <a:pt x="446" y="28"/>
                      </a:lnTo>
                      <a:lnTo>
                        <a:pt x="520" y="42"/>
                      </a:lnTo>
                      <a:lnTo>
                        <a:pt x="457" y="81"/>
                      </a:lnTo>
                      <a:lnTo>
                        <a:pt x="434" y="54"/>
                      </a:lnTo>
                      <a:lnTo>
                        <a:pt x="359" y="72"/>
                      </a:lnTo>
                      <a:lnTo>
                        <a:pt x="359" y="230"/>
                      </a:lnTo>
                      <a:lnTo>
                        <a:pt x="319" y="233"/>
                      </a:lnTo>
                      <a:lnTo>
                        <a:pt x="319" y="356"/>
                      </a:lnTo>
                      <a:lnTo>
                        <a:pt x="319" y="537"/>
                      </a:lnTo>
                      <a:lnTo>
                        <a:pt x="286" y="565"/>
                      </a:lnTo>
                      <a:lnTo>
                        <a:pt x="236" y="565"/>
                      </a:lnTo>
                      <a:lnTo>
                        <a:pt x="210" y="525"/>
                      </a:lnTo>
                      <a:lnTo>
                        <a:pt x="188" y="547"/>
                      </a:lnTo>
                      <a:lnTo>
                        <a:pt x="137" y="486"/>
                      </a:lnTo>
                      <a:lnTo>
                        <a:pt x="113" y="288"/>
                      </a:lnTo>
                      <a:lnTo>
                        <a:pt x="113" y="264"/>
                      </a:lnTo>
                      <a:lnTo>
                        <a:pt x="0" y="19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1" name="Freeform 474"/>
                <p:cNvSpPr/>
                <p:nvPr/>
              </p:nvSpPr>
              <p:spPr bwMode="auto">
                <a:xfrm>
                  <a:off x="938770" y="3371718"/>
                  <a:ext cx="154995" cy="140024"/>
                </a:xfrm>
                <a:custGeom>
                  <a:avLst/>
                  <a:gdLst>
                    <a:gd name="T0" fmla="*/ 0 w 322"/>
                    <a:gd name="T1" fmla="*/ 7 h 310"/>
                    <a:gd name="T2" fmla="*/ 4 w 322"/>
                    <a:gd name="T3" fmla="*/ 0 h 310"/>
                    <a:gd name="T4" fmla="*/ 7 w 322"/>
                    <a:gd name="T5" fmla="*/ 0 h 310"/>
                    <a:gd name="T6" fmla="*/ 7 w 322"/>
                    <a:gd name="T7" fmla="*/ 1 h 310"/>
                    <a:gd name="T8" fmla="*/ 7 w 322"/>
                    <a:gd name="T9" fmla="*/ 2 h 310"/>
                    <a:gd name="T10" fmla="*/ 5 w 322"/>
                    <a:gd name="T11" fmla="*/ 2 h 310"/>
                    <a:gd name="T12" fmla="*/ 5 w 322"/>
                    <a:gd name="T13" fmla="*/ 5 h 310"/>
                    <a:gd name="T14" fmla="*/ 3 w 322"/>
                    <a:gd name="T15" fmla="*/ 5 h 310"/>
                    <a:gd name="T16" fmla="*/ 4 w 322"/>
                    <a:gd name="T17" fmla="*/ 7 h 310"/>
                    <a:gd name="T18" fmla="*/ 0 w 322"/>
                    <a:gd name="T19" fmla="*/ 7 h 310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322"/>
                    <a:gd name="T31" fmla="*/ 0 h 310"/>
                    <a:gd name="T32" fmla="*/ 322 w 322"/>
                    <a:gd name="T33" fmla="*/ 310 h 310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322" h="310">
                      <a:moveTo>
                        <a:pt x="0" y="310"/>
                      </a:moveTo>
                      <a:lnTo>
                        <a:pt x="154" y="0"/>
                      </a:lnTo>
                      <a:lnTo>
                        <a:pt x="317" y="5"/>
                      </a:lnTo>
                      <a:lnTo>
                        <a:pt x="322" y="22"/>
                      </a:lnTo>
                      <a:lnTo>
                        <a:pt x="317" y="80"/>
                      </a:lnTo>
                      <a:lnTo>
                        <a:pt x="197" y="76"/>
                      </a:lnTo>
                      <a:lnTo>
                        <a:pt x="196" y="198"/>
                      </a:lnTo>
                      <a:lnTo>
                        <a:pt x="152" y="221"/>
                      </a:lnTo>
                      <a:lnTo>
                        <a:pt x="156" y="292"/>
                      </a:lnTo>
                      <a:lnTo>
                        <a:pt x="0" y="31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2" name="Freeform 475"/>
                <p:cNvSpPr/>
                <p:nvPr/>
              </p:nvSpPr>
              <p:spPr bwMode="auto">
                <a:xfrm>
                  <a:off x="1653093" y="3470371"/>
                  <a:ext cx="303250" cy="396203"/>
                </a:xfrm>
                <a:custGeom>
                  <a:avLst/>
                  <a:gdLst>
                    <a:gd name="T0" fmla="*/ 0 w 634"/>
                    <a:gd name="T1" fmla="*/ 11 h 874"/>
                    <a:gd name="T2" fmla="*/ 1 w 634"/>
                    <a:gd name="T3" fmla="*/ 13 h 874"/>
                    <a:gd name="T4" fmla="*/ 1 w 634"/>
                    <a:gd name="T5" fmla="*/ 15 h 874"/>
                    <a:gd name="T6" fmla="*/ 3 w 634"/>
                    <a:gd name="T7" fmla="*/ 16 h 874"/>
                    <a:gd name="T8" fmla="*/ 5 w 634"/>
                    <a:gd name="T9" fmla="*/ 19 h 874"/>
                    <a:gd name="T10" fmla="*/ 8 w 634"/>
                    <a:gd name="T11" fmla="*/ 20 h 874"/>
                    <a:gd name="T12" fmla="*/ 11 w 634"/>
                    <a:gd name="T13" fmla="*/ 20 h 874"/>
                    <a:gd name="T14" fmla="*/ 12 w 634"/>
                    <a:gd name="T15" fmla="*/ 19 h 874"/>
                    <a:gd name="T16" fmla="*/ 11 w 634"/>
                    <a:gd name="T17" fmla="*/ 17 h 874"/>
                    <a:gd name="T18" fmla="*/ 10 w 634"/>
                    <a:gd name="T19" fmla="*/ 16 h 874"/>
                    <a:gd name="T20" fmla="*/ 11 w 634"/>
                    <a:gd name="T21" fmla="*/ 15 h 874"/>
                    <a:gd name="T22" fmla="*/ 11 w 634"/>
                    <a:gd name="T23" fmla="*/ 13 h 874"/>
                    <a:gd name="T24" fmla="*/ 12 w 634"/>
                    <a:gd name="T25" fmla="*/ 11 h 874"/>
                    <a:gd name="T26" fmla="*/ 13 w 634"/>
                    <a:gd name="T27" fmla="*/ 6 h 874"/>
                    <a:gd name="T28" fmla="*/ 14 w 634"/>
                    <a:gd name="T29" fmla="*/ 5 h 874"/>
                    <a:gd name="T30" fmla="*/ 13 w 634"/>
                    <a:gd name="T31" fmla="*/ 5 h 874"/>
                    <a:gd name="T32" fmla="*/ 13 w 634"/>
                    <a:gd name="T33" fmla="*/ 1 h 874"/>
                    <a:gd name="T34" fmla="*/ 12 w 634"/>
                    <a:gd name="T35" fmla="*/ 0 h 874"/>
                    <a:gd name="T36" fmla="*/ 11 w 634"/>
                    <a:gd name="T37" fmla="*/ 1 h 874"/>
                    <a:gd name="T38" fmla="*/ 3 w 634"/>
                    <a:gd name="T39" fmla="*/ 1 h 874"/>
                    <a:gd name="T40" fmla="*/ 3 w 634"/>
                    <a:gd name="T41" fmla="*/ 3 h 874"/>
                    <a:gd name="T42" fmla="*/ 2 w 634"/>
                    <a:gd name="T43" fmla="*/ 3 h 874"/>
                    <a:gd name="T44" fmla="*/ 2 w 634"/>
                    <a:gd name="T45" fmla="*/ 4 h 874"/>
                    <a:gd name="T46" fmla="*/ 2 w 634"/>
                    <a:gd name="T47" fmla="*/ 8 h 874"/>
                    <a:gd name="T48" fmla="*/ 1 w 634"/>
                    <a:gd name="T49" fmla="*/ 8 h 874"/>
                    <a:gd name="T50" fmla="*/ 0 w 634"/>
                    <a:gd name="T51" fmla="*/ 11 h 87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634"/>
                    <a:gd name="T79" fmla="*/ 0 h 874"/>
                    <a:gd name="T80" fmla="*/ 634 w 634"/>
                    <a:gd name="T81" fmla="*/ 874 h 874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634" h="874">
                      <a:moveTo>
                        <a:pt x="0" y="460"/>
                      </a:moveTo>
                      <a:lnTo>
                        <a:pt x="30" y="549"/>
                      </a:lnTo>
                      <a:lnTo>
                        <a:pt x="59" y="644"/>
                      </a:lnTo>
                      <a:lnTo>
                        <a:pt x="124" y="679"/>
                      </a:lnTo>
                      <a:lnTo>
                        <a:pt x="216" y="807"/>
                      </a:lnTo>
                      <a:lnTo>
                        <a:pt x="344" y="874"/>
                      </a:lnTo>
                      <a:lnTo>
                        <a:pt x="460" y="857"/>
                      </a:lnTo>
                      <a:lnTo>
                        <a:pt x="532" y="832"/>
                      </a:lnTo>
                      <a:lnTo>
                        <a:pt x="488" y="740"/>
                      </a:lnTo>
                      <a:lnTo>
                        <a:pt x="423" y="684"/>
                      </a:lnTo>
                      <a:lnTo>
                        <a:pt x="466" y="652"/>
                      </a:lnTo>
                      <a:lnTo>
                        <a:pt x="474" y="572"/>
                      </a:lnTo>
                      <a:lnTo>
                        <a:pt x="544" y="462"/>
                      </a:lnTo>
                      <a:lnTo>
                        <a:pt x="575" y="273"/>
                      </a:lnTo>
                      <a:lnTo>
                        <a:pt x="634" y="230"/>
                      </a:lnTo>
                      <a:lnTo>
                        <a:pt x="587" y="192"/>
                      </a:lnTo>
                      <a:lnTo>
                        <a:pt x="570" y="50"/>
                      </a:lnTo>
                      <a:lnTo>
                        <a:pt x="521" y="0"/>
                      </a:lnTo>
                      <a:lnTo>
                        <a:pt x="460" y="59"/>
                      </a:lnTo>
                      <a:lnTo>
                        <a:pt x="116" y="49"/>
                      </a:lnTo>
                      <a:lnTo>
                        <a:pt x="116" y="138"/>
                      </a:lnTo>
                      <a:lnTo>
                        <a:pt x="83" y="139"/>
                      </a:lnTo>
                      <a:lnTo>
                        <a:pt x="83" y="166"/>
                      </a:lnTo>
                      <a:lnTo>
                        <a:pt x="82" y="334"/>
                      </a:lnTo>
                      <a:lnTo>
                        <a:pt x="42" y="343"/>
                      </a:lnTo>
                      <a:lnTo>
                        <a:pt x="0" y="46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3" name="Freeform 476"/>
                <p:cNvSpPr/>
                <p:nvPr/>
              </p:nvSpPr>
              <p:spPr bwMode="auto">
                <a:xfrm>
                  <a:off x="1814826" y="4463266"/>
                  <a:ext cx="23586" cy="31824"/>
                </a:xfrm>
                <a:custGeom>
                  <a:avLst/>
                  <a:gdLst>
                    <a:gd name="T0" fmla="*/ 0 w 46"/>
                    <a:gd name="T1" fmla="*/ 1 h 72"/>
                    <a:gd name="T2" fmla="*/ 1 w 46"/>
                    <a:gd name="T3" fmla="*/ 2 h 72"/>
                    <a:gd name="T4" fmla="*/ 1 w 46"/>
                    <a:gd name="T5" fmla="*/ 1 h 72"/>
                    <a:gd name="T6" fmla="*/ 1 w 46"/>
                    <a:gd name="T7" fmla="*/ 0 h 72"/>
                    <a:gd name="T8" fmla="*/ 0 w 46"/>
                    <a:gd name="T9" fmla="*/ 1 h 7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"/>
                    <a:gd name="T16" fmla="*/ 0 h 72"/>
                    <a:gd name="T17" fmla="*/ 46 w 46"/>
                    <a:gd name="T18" fmla="*/ 72 h 7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" h="72">
                      <a:moveTo>
                        <a:pt x="0" y="40"/>
                      </a:moveTo>
                      <a:lnTo>
                        <a:pt x="25" y="72"/>
                      </a:lnTo>
                      <a:lnTo>
                        <a:pt x="46" y="46"/>
                      </a:lnTo>
                      <a:lnTo>
                        <a:pt x="42" y="0"/>
                      </a:lnTo>
                      <a:lnTo>
                        <a:pt x="0" y="4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4" name="Freeform 477"/>
                <p:cNvSpPr/>
                <p:nvPr/>
              </p:nvSpPr>
              <p:spPr bwMode="auto">
                <a:xfrm>
                  <a:off x="1794610" y="3957272"/>
                  <a:ext cx="198797" cy="216400"/>
                </a:xfrm>
                <a:custGeom>
                  <a:avLst/>
                  <a:gdLst>
                    <a:gd name="T0" fmla="*/ 0 w 409"/>
                    <a:gd name="T1" fmla="*/ 3 h 475"/>
                    <a:gd name="T2" fmla="*/ 0 w 409"/>
                    <a:gd name="T3" fmla="*/ 6 h 475"/>
                    <a:gd name="T4" fmla="*/ 1 w 409"/>
                    <a:gd name="T5" fmla="*/ 8 h 475"/>
                    <a:gd name="T6" fmla="*/ 3 w 409"/>
                    <a:gd name="T7" fmla="*/ 9 h 475"/>
                    <a:gd name="T8" fmla="*/ 4 w 409"/>
                    <a:gd name="T9" fmla="*/ 9 h 475"/>
                    <a:gd name="T10" fmla="*/ 5 w 409"/>
                    <a:gd name="T11" fmla="*/ 11 h 475"/>
                    <a:gd name="T12" fmla="*/ 8 w 409"/>
                    <a:gd name="T13" fmla="*/ 11 h 475"/>
                    <a:gd name="T14" fmla="*/ 10 w 409"/>
                    <a:gd name="T15" fmla="*/ 10 h 475"/>
                    <a:gd name="T16" fmla="*/ 8 w 409"/>
                    <a:gd name="T17" fmla="*/ 5 h 475"/>
                    <a:gd name="T18" fmla="*/ 9 w 409"/>
                    <a:gd name="T19" fmla="*/ 4 h 475"/>
                    <a:gd name="T20" fmla="*/ 4 w 409"/>
                    <a:gd name="T21" fmla="*/ 0 h 475"/>
                    <a:gd name="T22" fmla="*/ 3 w 409"/>
                    <a:gd name="T23" fmla="*/ 2 h 475"/>
                    <a:gd name="T24" fmla="*/ 2 w 409"/>
                    <a:gd name="T25" fmla="*/ 1 h 475"/>
                    <a:gd name="T26" fmla="*/ 2 w 409"/>
                    <a:gd name="T27" fmla="*/ 2 h 475"/>
                    <a:gd name="T28" fmla="*/ 2 w 409"/>
                    <a:gd name="T29" fmla="*/ 0 h 475"/>
                    <a:gd name="T30" fmla="*/ 1 w 409"/>
                    <a:gd name="T31" fmla="*/ 0 h 475"/>
                    <a:gd name="T32" fmla="*/ 1 w 409"/>
                    <a:gd name="T33" fmla="*/ 1 h 475"/>
                    <a:gd name="T34" fmla="*/ 1 w 409"/>
                    <a:gd name="T35" fmla="*/ 2 h 475"/>
                    <a:gd name="T36" fmla="*/ 0 w 409"/>
                    <a:gd name="T37" fmla="*/ 3 h 475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409"/>
                    <a:gd name="T58" fmla="*/ 0 h 475"/>
                    <a:gd name="T59" fmla="*/ 409 w 409"/>
                    <a:gd name="T60" fmla="*/ 475 h 475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409" h="475">
                      <a:moveTo>
                        <a:pt x="0" y="150"/>
                      </a:moveTo>
                      <a:lnTo>
                        <a:pt x="3" y="242"/>
                      </a:lnTo>
                      <a:lnTo>
                        <a:pt x="52" y="334"/>
                      </a:lnTo>
                      <a:lnTo>
                        <a:pt x="124" y="375"/>
                      </a:lnTo>
                      <a:lnTo>
                        <a:pt x="160" y="384"/>
                      </a:lnTo>
                      <a:lnTo>
                        <a:pt x="199" y="475"/>
                      </a:lnTo>
                      <a:lnTo>
                        <a:pt x="353" y="462"/>
                      </a:lnTo>
                      <a:lnTo>
                        <a:pt x="409" y="423"/>
                      </a:lnTo>
                      <a:lnTo>
                        <a:pt x="351" y="237"/>
                      </a:lnTo>
                      <a:lnTo>
                        <a:pt x="367" y="165"/>
                      </a:lnTo>
                      <a:lnTo>
                        <a:pt x="175" y="0"/>
                      </a:lnTo>
                      <a:lnTo>
                        <a:pt x="118" y="84"/>
                      </a:lnTo>
                      <a:lnTo>
                        <a:pt x="98" y="61"/>
                      </a:lnTo>
                      <a:lnTo>
                        <a:pt x="84" y="80"/>
                      </a:lnTo>
                      <a:lnTo>
                        <a:pt x="82" y="0"/>
                      </a:lnTo>
                      <a:lnTo>
                        <a:pt x="29" y="5"/>
                      </a:lnTo>
                      <a:lnTo>
                        <a:pt x="39" y="62"/>
                      </a:lnTo>
                      <a:lnTo>
                        <a:pt x="42" y="97"/>
                      </a:lnTo>
                      <a:lnTo>
                        <a:pt x="0" y="15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5" name="Freeform 478"/>
                <p:cNvSpPr/>
                <p:nvPr/>
              </p:nvSpPr>
              <p:spPr bwMode="auto">
                <a:xfrm>
                  <a:off x="1247075" y="3715413"/>
                  <a:ext cx="40433" cy="103427"/>
                </a:xfrm>
                <a:custGeom>
                  <a:avLst/>
                  <a:gdLst>
                    <a:gd name="T0" fmla="*/ 0 w 82"/>
                    <a:gd name="T1" fmla="*/ 0 h 227"/>
                    <a:gd name="T2" fmla="*/ 1 w 82"/>
                    <a:gd name="T3" fmla="*/ 0 h 227"/>
                    <a:gd name="T4" fmla="*/ 2 w 82"/>
                    <a:gd name="T5" fmla="*/ 5 h 227"/>
                    <a:gd name="T6" fmla="*/ 1 w 82"/>
                    <a:gd name="T7" fmla="*/ 5 h 227"/>
                    <a:gd name="T8" fmla="*/ 0 w 82"/>
                    <a:gd name="T9" fmla="*/ 0 h 2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2"/>
                    <a:gd name="T16" fmla="*/ 0 h 227"/>
                    <a:gd name="T17" fmla="*/ 82 w 82"/>
                    <a:gd name="T18" fmla="*/ 227 h 2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2" h="227">
                      <a:moveTo>
                        <a:pt x="0" y="0"/>
                      </a:moveTo>
                      <a:lnTo>
                        <a:pt x="41" y="10"/>
                      </a:lnTo>
                      <a:lnTo>
                        <a:pt x="82" y="219"/>
                      </a:lnTo>
                      <a:lnTo>
                        <a:pt x="53" y="227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6" name="Freeform 479"/>
                <p:cNvSpPr/>
                <p:nvPr/>
              </p:nvSpPr>
              <p:spPr bwMode="auto">
                <a:xfrm>
                  <a:off x="1796295" y="3858619"/>
                  <a:ext cx="96029" cy="106609"/>
                </a:xfrm>
                <a:custGeom>
                  <a:avLst/>
                  <a:gdLst>
                    <a:gd name="T0" fmla="*/ 0 w 198"/>
                    <a:gd name="T1" fmla="*/ 5 h 234"/>
                    <a:gd name="T2" fmla="*/ 1 w 198"/>
                    <a:gd name="T3" fmla="*/ 5 h 234"/>
                    <a:gd name="T4" fmla="*/ 2 w 198"/>
                    <a:gd name="T5" fmla="*/ 5 h 234"/>
                    <a:gd name="T6" fmla="*/ 2 w 198"/>
                    <a:gd name="T7" fmla="*/ 4 h 234"/>
                    <a:gd name="T8" fmla="*/ 4 w 198"/>
                    <a:gd name="T9" fmla="*/ 4 h 234"/>
                    <a:gd name="T10" fmla="*/ 5 w 198"/>
                    <a:gd name="T11" fmla="*/ 2 h 234"/>
                    <a:gd name="T12" fmla="*/ 4 w 198"/>
                    <a:gd name="T13" fmla="*/ 0 h 234"/>
                    <a:gd name="T14" fmla="*/ 1 w 198"/>
                    <a:gd name="T15" fmla="*/ 0 h 234"/>
                    <a:gd name="T16" fmla="*/ 1 w 198"/>
                    <a:gd name="T17" fmla="*/ 2 h 234"/>
                    <a:gd name="T18" fmla="*/ 1 w 198"/>
                    <a:gd name="T19" fmla="*/ 3 h 234"/>
                    <a:gd name="T20" fmla="*/ 0 w 198"/>
                    <a:gd name="T21" fmla="*/ 5 h 23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198"/>
                    <a:gd name="T34" fmla="*/ 0 h 234"/>
                    <a:gd name="T35" fmla="*/ 198 w 198"/>
                    <a:gd name="T36" fmla="*/ 234 h 23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198" h="234">
                      <a:moveTo>
                        <a:pt x="0" y="234"/>
                      </a:moveTo>
                      <a:lnTo>
                        <a:pt x="27" y="222"/>
                      </a:lnTo>
                      <a:lnTo>
                        <a:pt x="80" y="217"/>
                      </a:lnTo>
                      <a:lnTo>
                        <a:pt x="82" y="186"/>
                      </a:lnTo>
                      <a:lnTo>
                        <a:pt x="159" y="165"/>
                      </a:lnTo>
                      <a:lnTo>
                        <a:pt x="198" y="87"/>
                      </a:lnTo>
                      <a:lnTo>
                        <a:pt x="159" y="0"/>
                      </a:lnTo>
                      <a:lnTo>
                        <a:pt x="43" y="17"/>
                      </a:lnTo>
                      <a:lnTo>
                        <a:pt x="56" y="82"/>
                      </a:lnTo>
                      <a:lnTo>
                        <a:pt x="29" y="124"/>
                      </a:lnTo>
                      <a:lnTo>
                        <a:pt x="0" y="234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7" name="Freeform 480"/>
                <p:cNvSpPr/>
                <p:nvPr/>
              </p:nvSpPr>
              <p:spPr bwMode="auto">
                <a:xfrm>
                  <a:off x="1700265" y="3285794"/>
                  <a:ext cx="205536" cy="211627"/>
                </a:xfrm>
                <a:custGeom>
                  <a:avLst/>
                  <a:gdLst>
                    <a:gd name="T0" fmla="*/ 0 w 429"/>
                    <a:gd name="T1" fmla="*/ 2 h 464"/>
                    <a:gd name="T2" fmla="*/ 0 w 429"/>
                    <a:gd name="T3" fmla="*/ 11 h 464"/>
                    <a:gd name="T4" fmla="*/ 8 w 429"/>
                    <a:gd name="T5" fmla="*/ 11 h 464"/>
                    <a:gd name="T6" fmla="*/ 10 w 429"/>
                    <a:gd name="T7" fmla="*/ 9 h 464"/>
                    <a:gd name="T8" fmla="*/ 10 w 429"/>
                    <a:gd name="T9" fmla="*/ 9 h 464"/>
                    <a:gd name="T10" fmla="*/ 7 w 429"/>
                    <a:gd name="T11" fmla="*/ 2 h 464"/>
                    <a:gd name="T12" fmla="*/ 8 w 429"/>
                    <a:gd name="T13" fmla="*/ 4 h 464"/>
                    <a:gd name="T14" fmla="*/ 9 w 429"/>
                    <a:gd name="T15" fmla="*/ 3 h 464"/>
                    <a:gd name="T16" fmla="*/ 8 w 429"/>
                    <a:gd name="T17" fmla="*/ 0 h 464"/>
                    <a:gd name="T18" fmla="*/ 7 w 429"/>
                    <a:gd name="T19" fmla="*/ 1 h 464"/>
                    <a:gd name="T20" fmla="*/ 7 w 429"/>
                    <a:gd name="T21" fmla="*/ 0 h 464"/>
                    <a:gd name="T22" fmla="*/ 5 w 429"/>
                    <a:gd name="T23" fmla="*/ 0 h 464"/>
                    <a:gd name="T24" fmla="*/ 4 w 429"/>
                    <a:gd name="T25" fmla="*/ 1 h 464"/>
                    <a:gd name="T26" fmla="*/ 0 w 429"/>
                    <a:gd name="T27" fmla="*/ 0 h 464"/>
                    <a:gd name="T28" fmla="*/ 0 w 429"/>
                    <a:gd name="T29" fmla="*/ 2 h 464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429"/>
                    <a:gd name="T46" fmla="*/ 0 h 464"/>
                    <a:gd name="T47" fmla="*/ 429 w 429"/>
                    <a:gd name="T48" fmla="*/ 464 h 464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429" h="464">
                      <a:moveTo>
                        <a:pt x="0" y="75"/>
                      </a:moveTo>
                      <a:lnTo>
                        <a:pt x="17" y="454"/>
                      </a:lnTo>
                      <a:lnTo>
                        <a:pt x="361" y="464"/>
                      </a:lnTo>
                      <a:lnTo>
                        <a:pt x="422" y="405"/>
                      </a:lnTo>
                      <a:lnTo>
                        <a:pt x="429" y="364"/>
                      </a:lnTo>
                      <a:lnTo>
                        <a:pt x="298" y="98"/>
                      </a:lnTo>
                      <a:lnTo>
                        <a:pt x="361" y="183"/>
                      </a:lnTo>
                      <a:lnTo>
                        <a:pt x="392" y="110"/>
                      </a:lnTo>
                      <a:lnTo>
                        <a:pt x="361" y="17"/>
                      </a:lnTo>
                      <a:lnTo>
                        <a:pt x="284" y="30"/>
                      </a:lnTo>
                      <a:lnTo>
                        <a:pt x="282" y="4"/>
                      </a:lnTo>
                      <a:lnTo>
                        <a:pt x="239" y="4"/>
                      </a:lnTo>
                      <a:lnTo>
                        <a:pt x="166" y="40"/>
                      </a:lnTo>
                      <a:lnTo>
                        <a:pt x="17" y="0"/>
                      </a:lnTo>
                      <a:lnTo>
                        <a:pt x="0" y="7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8" name="Freeform 481"/>
                <p:cNvSpPr/>
                <p:nvPr/>
              </p:nvSpPr>
              <p:spPr bwMode="auto">
                <a:xfrm>
                  <a:off x="1154415" y="3637445"/>
                  <a:ext cx="136463" cy="109791"/>
                </a:xfrm>
                <a:custGeom>
                  <a:avLst/>
                  <a:gdLst>
                    <a:gd name="T0" fmla="*/ 0 w 285"/>
                    <a:gd name="T1" fmla="*/ 5 h 242"/>
                    <a:gd name="T2" fmla="*/ 1 w 285"/>
                    <a:gd name="T3" fmla="*/ 5 h 242"/>
                    <a:gd name="T4" fmla="*/ 2 w 285"/>
                    <a:gd name="T5" fmla="*/ 6 h 242"/>
                    <a:gd name="T6" fmla="*/ 2 w 285"/>
                    <a:gd name="T7" fmla="*/ 4 h 242"/>
                    <a:gd name="T8" fmla="*/ 5 w 285"/>
                    <a:gd name="T9" fmla="*/ 4 h 242"/>
                    <a:gd name="T10" fmla="*/ 5 w 285"/>
                    <a:gd name="T11" fmla="*/ 4 h 242"/>
                    <a:gd name="T12" fmla="*/ 7 w 285"/>
                    <a:gd name="T13" fmla="*/ 3 h 242"/>
                    <a:gd name="T14" fmla="*/ 5 w 285"/>
                    <a:gd name="T15" fmla="*/ 1 h 242"/>
                    <a:gd name="T16" fmla="*/ 5 w 285"/>
                    <a:gd name="T17" fmla="*/ 0 h 242"/>
                    <a:gd name="T18" fmla="*/ 1 w 285"/>
                    <a:gd name="T19" fmla="*/ 2 h 242"/>
                    <a:gd name="T20" fmla="*/ 0 w 285"/>
                    <a:gd name="T21" fmla="*/ 5 h 24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85"/>
                    <a:gd name="T34" fmla="*/ 0 h 242"/>
                    <a:gd name="T35" fmla="*/ 285 w 285"/>
                    <a:gd name="T36" fmla="*/ 242 h 242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85" h="242">
                      <a:moveTo>
                        <a:pt x="0" y="207"/>
                      </a:moveTo>
                      <a:lnTo>
                        <a:pt x="23" y="233"/>
                      </a:lnTo>
                      <a:lnTo>
                        <a:pt x="102" y="242"/>
                      </a:lnTo>
                      <a:lnTo>
                        <a:pt x="92" y="181"/>
                      </a:lnTo>
                      <a:lnTo>
                        <a:pt x="192" y="171"/>
                      </a:lnTo>
                      <a:lnTo>
                        <a:pt x="233" y="181"/>
                      </a:lnTo>
                      <a:lnTo>
                        <a:pt x="285" y="135"/>
                      </a:lnTo>
                      <a:lnTo>
                        <a:pt x="214" y="42"/>
                      </a:lnTo>
                      <a:lnTo>
                        <a:pt x="206" y="0"/>
                      </a:lnTo>
                      <a:lnTo>
                        <a:pt x="49" y="79"/>
                      </a:lnTo>
                      <a:lnTo>
                        <a:pt x="0" y="207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39" name="Freeform 482"/>
                <p:cNvSpPr/>
                <p:nvPr/>
              </p:nvSpPr>
              <p:spPr bwMode="auto">
                <a:xfrm>
                  <a:off x="1653093" y="4102069"/>
                  <a:ext cx="215645" cy="195715"/>
                </a:xfrm>
                <a:custGeom>
                  <a:avLst/>
                  <a:gdLst>
                    <a:gd name="T0" fmla="*/ 0 w 450"/>
                    <a:gd name="T1" fmla="*/ 5 h 434"/>
                    <a:gd name="T2" fmla="*/ 0 w 450"/>
                    <a:gd name="T3" fmla="*/ 9 h 434"/>
                    <a:gd name="T4" fmla="*/ 1 w 450"/>
                    <a:gd name="T5" fmla="*/ 10 h 434"/>
                    <a:gd name="T6" fmla="*/ 3 w 450"/>
                    <a:gd name="T7" fmla="*/ 10 h 434"/>
                    <a:gd name="T8" fmla="*/ 4 w 450"/>
                    <a:gd name="T9" fmla="*/ 10 h 434"/>
                    <a:gd name="T10" fmla="*/ 6 w 450"/>
                    <a:gd name="T11" fmla="*/ 9 h 434"/>
                    <a:gd name="T12" fmla="*/ 6 w 450"/>
                    <a:gd name="T13" fmla="*/ 8 h 434"/>
                    <a:gd name="T14" fmla="*/ 7 w 450"/>
                    <a:gd name="T15" fmla="*/ 8 h 434"/>
                    <a:gd name="T16" fmla="*/ 7 w 450"/>
                    <a:gd name="T17" fmla="*/ 7 h 434"/>
                    <a:gd name="T18" fmla="*/ 10 w 450"/>
                    <a:gd name="T19" fmla="*/ 6 h 434"/>
                    <a:gd name="T20" fmla="*/ 9 w 450"/>
                    <a:gd name="T21" fmla="*/ 6 h 434"/>
                    <a:gd name="T22" fmla="*/ 10 w 450"/>
                    <a:gd name="T23" fmla="*/ 3 h 434"/>
                    <a:gd name="T24" fmla="*/ 10 w 450"/>
                    <a:gd name="T25" fmla="*/ 1 h 434"/>
                    <a:gd name="T26" fmla="*/ 8 w 450"/>
                    <a:gd name="T27" fmla="*/ 0 h 434"/>
                    <a:gd name="T28" fmla="*/ 8 w 450"/>
                    <a:gd name="T29" fmla="*/ 0 h 434"/>
                    <a:gd name="T30" fmla="*/ 6 w 450"/>
                    <a:gd name="T31" fmla="*/ 1 h 434"/>
                    <a:gd name="T32" fmla="*/ 6 w 450"/>
                    <a:gd name="T33" fmla="*/ 3 h 434"/>
                    <a:gd name="T34" fmla="*/ 7 w 450"/>
                    <a:gd name="T35" fmla="*/ 4 h 434"/>
                    <a:gd name="T36" fmla="*/ 7 w 450"/>
                    <a:gd name="T37" fmla="*/ 5 h 434"/>
                    <a:gd name="T38" fmla="*/ 2 w 450"/>
                    <a:gd name="T39" fmla="*/ 3 h 434"/>
                    <a:gd name="T40" fmla="*/ 2 w 450"/>
                    <a:gd name="T41" fmla="*/ 5 h 434"/>
                    <a:gd name="T42" fmla="*/ 0 w 450"/>
                    <a:gd name="T43" fmla="*/ 5 h 434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450"/>
                    <a:gd name="T67" fmla="*/ 0 h 434"/>
                    <a:gd name="T68" fmla="*/ 450 w 450"/>
                    <a:gd name="T69" fmla="*/ 434 h 434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450" h="434">
                      <a:moveTo>
                        <a:pt x="0" y="212"/>
                      </a:moveTo>
                      <a:lnTo>
                        <a:pt x="0" y="379"/>
                      </a:lnTo>
                      <a:lnTo>
                        <a:pt x="47" y="419"/>
                      </a:lnTo>
                      <a:lnTo>
                        <a:pt x="121" y="433"/>
                      </a:lnTo>
                      <a:lnTo>
                        <a:pt x="187" y="434"/>
                      </a:lnTo>
                      <a:lnTo>
                        <a:pt x="254" y="375"/>
                      </a:lnTo>
                      <a:lnTo>
                        <a:pt x="256" y="348"/>
                      </a:lnTo>
                      <a:lnTo>
                        <a:pt x="317" y="334"/>
                      </a:lnTo>
                      <a:lnTo>
                        <a:pt x="309" y="310"/>
                      </a:lnTo>
                      <a:lnTo>
                        <a:pt x="428" y="265"/>
                      </a:lnTo>
                      <a:lnTo>
                        <a:pt x="412" y="245"/>
                      </a:lnTo>
                      <a:lnTo>
                        <a:pt x="450" y="114"/>
                      </a:lnTo>
                      <a:lnTo>
                        <a:pt x="422" y="56"/>
                      </a:lnTo>
                      <a:lnTo>
                        <a:pt x="350" y="15"/>
                      </a:lnTo>
                      <a:lnTo>
                        <a:pt x="329" y="0"/>
                      </a:lnTo>
                      <a:lnTo>
                        <a:pt x="260" y="42"/>
                      </a:lnTo>
                      <a:lnTo>
                        <a:pt x="254" y="156"/>
                      </a:lnTo>
                      <a:lnTo>
                        <a:pt x="298" y="177"/>
                      </a:lnTo>
                      <a:lnTo>
                        <a:pt x="300" y="225"/>
                      </a:lnTo>
                      <a:lnTo>
                        <a:pt x="81" y="122"/>
                      </a:lnTo>
                      <a:lnTo>
                        <a:pt x="86" y="212"/>
                      </a:lnTo>
                      <a:lnTo>
                        <a:pt x="0" y="21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0" name="Freeform 483"/>
                <p:cNvSpPr/>
                <p:nvPr/>
              </p:nvSpPr>
              <p:spPr bwMode="auto">
                <a:xfrm>
                  <a:off x="1552010" y="4388481"/>
                  <a:ext cx="299881" cy="264136"/>
                </a:xfrm>
                <a:custGeom>
                  <a:avLst/>
                  <a:gdLst>
                    <a:gd name="T0" fmla="*/ 0 w 624"/>
                    <a:gd name="T1" fmla="*/ 7 h 583"/>
                    <a:gd name="T2" fmla="*/ 1 w 624"/>
                    <a:gd name="T3" fmla="*/ 7 h 583"/>
                    <a:gd name="T4" fmla="*/ 1 w 624"/>
                    <a:gd name="T5" fmla="*/ 7 h 583"/>
                    <a:gd name="T6" fmla="*/ 2 w 624"/>
                    <a:gd name="T7" fmla="*/ 7 h 583"/>
                    <a:gd name="T8" fmla="*/ 3 w 624"/>
                    <a:gd name="T9" fmla="*/ 7 h 583"/>
                    <a:gd name="T10" fmla="*/ 3 w 624"/>
                    <a:gd name="T11" fmla="*/ 3 h 583"/>
                    <a:gd name="T12" fmla="*/ 4 w 624"/>
                    <a:gd name="T13" fmla="*/ 4 h 583"/>
                    <a:gd name="T14" fmla="*/ 4 w 624"/>
                    <a:gd name="T15" fmla="*/ 5 h 583"/>
                    <a:gd name="T16" fmla="*/ 5 w 624"/>
                    <a:gd name="T17" fmla="*/ 5 h 583"/>
                    <a:gd name="T18" fmla="*/ 6 w 624"/>
                    <a:gd name="T19" fmla="*/ 4 h 583"/>
                    <a:gd name="T20" fmla="*/ 8 w 624"/>
                    <a:gd name="T21" fmla="*/ 4 h 583"/>
                    <a:gd name="T22" fmla="*/ 11 w 624"/>
                    <a:gd name="T23" fmla="*/ 0 h 583"/>
                    <a:gd name="T24" fmla="*/ 13 w 624"/>
                    <a:gd name="T25" fmla="*/ 1 h 583"/>
                    <a:gd name="T26" fmla="*/ 14 w 624"/>
                    <a:gd name="T27" fmla="*/ 4 h 583"/>
                    <a:gd name="T28" fmla="*/ 13 w 624"/>
                    <a:gd name="T29" fmla="*/ 5 h 583"/>
                    <a:gd name="T30" fmla="*/ 13 w 624"/>
                    <a:gd name="T31" fmla="*/ 5 h 583"/>
                    <a:gd name="T32" fmla="*/ 14 w 624"/>
                    <a:gd name="T33" fmla="*/ 5 h 583"/>
                    <a:gd name="T34" fmla="*/ 15 w 624"/>
                    <a:gd name="T35" fmla="*/ 5 h 583"/>
                    <a:gd name="T36" fmla="*/ 14 w 624"/>
                    <a:gd name="T37" fmla="*/ 7 h 583"/>
                    <a:gd name="T38" fmla="*/ 12 w 624"/>
                    <a:gd name="T39" fmla="*/ 10 h 583"/>
                    <a:gd name="T40" fmla="*/ 9 w 624"/>
                    <a:gd name="T41" fmla="*/ 13 h 583"/>
                    <a:gd name="T42" fmla="*/ 7 w 624"/>
                    <a:gd name="T43" fmla="*/ 13 h 583"/>
                    <a:gd name="T44" fmla="*/ 2 w 624"/>
                    <a:gd name="T45" fmla="*/ 13 h 583"/>
                    <a:gd name="T46" fmla="*/ 1 w 624"/>
                    <a:gd name="T47" fmla="*/ 12 h 583"/>
                    <a:gd name="T48" fmla="*/ 1 w 624"/>
                    <a:gd name="T49" fmla="*/ 11 h 583"/>
                    <a:gd name="T50" fmla="*/ 0 w 624"/>
                    <a:gd name="T51" fmla="*/ 7 h 583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624"/>
                    <a:gd name="T79" fmla="*/ 0 h 583"/>
                    <a:gd name="T80" fmla="*/ 624 w 624"/>
                    <a:gd name="T81" fmla="*/ 583 h 583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624" h="583">
                      <a:moveTo>
                        <a:pt x="0" y="308"/>
                      </a:moveTo>
                      <a:lnTo>
                        <a:pt x="22" y="286"/>
                      </a:lnTo>
                      <a:lnTo>
                        <a:pt x="48" y="326"/>
                      </a:lnTo>
                      <a:lnTo>
                        <a:pt x="98" y="326"/>
                      </a:lnTo>
                      <a:lnTo>
                        <a:pt x="131" y="298"/>
                      </a:lnTo>
                      <a:lnTo>
                        <a:pt x="131" y="117"/>
                      </a:lnTo>
                      <a:lnTo>
                        <a:pt x="165" y="163"/>
                      </a:lnTo>
                      <a:lnTo>
                        <a:pt x="163" y="213"/>
                      </a:lnTo>
                      <a:lnTo>
                        <a:pt x="217" y="211"/>
                      </a:lnTo>
                      <a:lnTo>
                        <a:pt x="262" y="156"/>
                      </a:lnTo>
                      <a:lnTo>
                        <a:pt x="347" y="156"/>
                      </a:lnTo>
                      <a:lnTo>
                        <a:pt x="489" y="0"/>
                      </a:lnTo>
                      <a:lnTo>
                        <a:pt x="577" y="23"/>
                      </a:lnTo>
                      <a:lnTo>
                        <a:pt x="593" y="167"/>
                      </a:lnTo>
                      <a:lnTo>
                        <a:pt x="551" y="207"/>
                      </a:lnTo>
                      <a:lnTo>
                        <a:pt x="576" y="239"/>
                      </a:lnTo>
                      <a:lnTo>
                        <a:pt x="597" y="213"/>
                      </a:lnTo>
                      <a:lnTo>
                        <a:pt x="624" y="213"/>
                      </a:lnTo>
                      <a:lnTo>
                        <a:pt x="608" y="298"/>
                      </a:lnTo>
                      <a:lnTo>
                        <a:pt x="521" y="429"/>
                      </a:lnTo>
                      <a:lnTo>
                        <a:pt x="404" y="543"/>
                      </a:lnTo>
                      <a:lnTo>
                        <a:pt x="319" y="581"/>
                      </a:lnTo>
                      <a:lnTo>
                        <a:pt x="75" y="583"/>
                      </a:lnTo>
                      <a:lnTo>
                        <a:pt x="53" y="517"/>
                      </a:lnTo>
                      <a:lnTo>
                        <a:pt x="65" y="468"/>
                      </a:lnTo>
                      <a:lnTo>
                        <a:pt x="0" y="30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1" name="Freeform 484"/>
                <p:cNvSpPr/>
                <p:nvPr/>
              </p:nvSpPr>
              <p:spPr bwMode="auto">
                <a:xfrm>
                  <a:off x="1744068" y="4530096"/>
                  <a:ext cx="42118" cy="47735"/>
                </a:xfrm>
                <a:custGeom>
                  <a:avLst/>
                  <a:gdLst>
                    <a:gd name="T0" fmla="*/ 0 w 86"/>
                    <a:gd name="T1" fmla="*/ 1 h 106"/>
                    <a:gd name="T2" fmla="*/ 1 w 86"/>
                    <a:gd name="T3" fmla="*/ 2 h 106"/>
                    <a:gd name="T4" fmla="*/ 2 w 86"/>
                    <a:gd name="T5" fmla="*/ 1 h 106"/>
                    <a:gd name="T6" fmla="*/ 1 w 86"/>
                    <a:gd name="T7" fmla="*/ 0 h 106"/>
                    <a:gd name="T8" fmla="*/ 0 w 86"/>
                    <a:gd name="T9" fmla="*/ 1 h 10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86"/>
                    <a:gd name="T16" fmla="*/ 0 h 106"/>
                    <a:gd name="T17" fmla="*/ 86 w 86"/>
                    <a:gd name="T18" fmla="*/ 106 h 10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86" h="106">
                      <a:moveTo>
                        <a:pt x="0" y="52"/>
                      </a:moveTo>
                      <a:lnTo>
                        <a:pt x="33" y="106"/>
                      </a:lnTo>
                      <a:lnTo>
                        <a:pt x="86" y="52"/>
                      </a:lnTo>
                      <a:lnTo>
                        <a:pt x="61" y="0"/>
                      </a:lnTo>
                      <a:lnTo>
                        <a:pt x="0" y="5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2" name="Freeform 485"/>
                <p:cNvSpPr/>
                <p:nvPr/>
              </p:nvSpPr>
              <p:spPr bwMode="auto">
                <a:xfrm>
                  <a:off x="1676679" y="2698650"/>
                  <a:ext cx="144886" cy="122521"/>
                </a:xfrm>
                <a:custGeom>
                  <a:avLst/>
                  <a:gdLst>
                    <a:gd name="T0" fmla="*/ 2 w 302"/>
                    <a:gd name="T1" fmla="*/ 0 h 272"/>
                    <a:gd name="T2" fmla="*/ 3 w 302"/>
                    <a:gd name="T3" fmla="*/ 0 h 272"/>
                    <a:gd name="T4" fmla="*/ 3 w 302"/>
                    <a:gd name="T5" fmla="*/ 1 h 272"/>
                    <a:gd name="T6" fmla="*/ 4 w 302"/>
                    <a:gd name="T7" fmla="*/ 1 h 272"/>
                    <a:gd name="T8" fmla="*/ 5 w 302"/>
                    <a:gd name="T9" fmla="*/ 1 h 272"/>
                    <a:gd name="T10" fmla="*/ 6 w 302"/>
                    <a:gd name="T11" fmla="*/ 1 h 272"/>
                    <a:gd name="T12" fmla="*/ 6 w 302"/>
                    <a:gd name="T13" fmla="*/ 3 h 272"/>
                    <a:gd name="T14" fmla="*/ 6 w 302"/>
                    <a:gd name="T15" fmla="*/ 3 h 272"/>
                    <a:gd name="T16" fmla="*/ 7 w 302"/>
                    <a:gd name="T17" fmla="*/ 3 h 272"/>
                    <a:gd name="T18" fmla="*/ 7 w 302"/>
                    <a:gd name="T19" fmla="*/ 3 h 272"/>
                    <a:gd name="T20" fmla="*/ 7 w 302"/>
                    <a:gd name="T21" fmla="*/ 4 h 272"/>
                    <a:gd name="T22" fmla="*/ 7 w 302"/>
                    <a:gd name="T23" fmla="*/ 4 h 272"/>
                    <a:gd name="T24" fmla="*/ 6 w 302"/>
                    <a:gd name="T25" fmla="*/ 4 h 272"/>
                    <a:gd name="T26" fmla="*/ 6 w 302"/>
                    <a:gd name="T27" fmla="*/ 4 h 272"/>
                    <a:gd name="T28" fmla="*/ 6 w 302"/>
                    <a:gd name="T29" fmla="*/ 5 h 272"/>
                    <a:gd name="T30" fmla="*/ 7 w 302"/>
                    <a:gd name="T31" fmla="*/ 5 h 272"/>
                    <a:gd name="T32" fmla="*/ 6 w 302"/>
                    <a:gd name="T33" fmla="*/ 5 h 272"/>
                    <a:gd name="T34" fmla="*/ 6 w 302"/>
                    <a:gd name="T35" fmla="*/ 5 h 272"/>
                    <a:gd name="T36" fmla="*/ 6 w 302"/>
                    <a:gd name="T37" fmla="*/ 5 h 272"/>
                    <a:gd name="T38" fmla="*/ 5 w 302"/>
                    <a:gd name="T39" fmla="*/ 6 h 272"/>
                    <a:gd name="T40" fmla="*/ 5 w 302"/>
                    <a:gd name="T41" fmla="*/ 6 h 272"/>
                    <a:gd name="T42" fmla="*/ 5 w 302"/>
                    <a:gd name="T43" fmla="*/ 6 h 272"/>
                    <a:gd name="T44" fmla="*/ 5 w 302"/>
                    <a:gd name="T45" fmla="*/ 6 h 272"/>
                    <a:gd name="T46" fmla="*/ 4 w 302"/>
                    <a:gd name="T47" fmla="*/ 6 h 272"/>
                    <a:gd name="T48" fmla="*/ 4 w 302"/>
                    <a:gd name="T49" fmla="*/ 6 h 272"/>
                    <a:gd name="T50" fmla="*/ 3 w 302"/>
                    <a:gd name="T51" fmla="*/ 6 h 272"/>
                    <a:gd name="T52" fmla="*/ 2 w 302"/>
                    <a:gd name="T53" fmla="*/ 5 h 272"/>
                    <a:gd name="T54" fmla="*/ 1 w 302"/>
                    <a:gd name="T55" fmla="*/ 5 h 272"/>
                    <a:gd name="T56" fmla="*/ 1 w 302"/>
                    <a:gd name="T57" fmla="*/ 5 h 272"/>
                    <a:gd name="T58" fmla="*/ 0 w 302"/>
                    <a:gd name="T59" fmla="*/ 6 h 272"/>
                    <a:gd name="T60" fmla="*/ 0 w 302"/>
                    <a:gd name="T61" fmla="*/ 5 h 272"/>
                    <a:gd name="T62" fmla="*/ 1 w 302"/>
                    <a:gd name="T63" fmla="*/ 4 h 272"/>
                    <a:gd name="T64" fmla="*/ 0 w 302"/>
                    <a:gd name="T65" fmla="*/ 3 h 272"/>
                    <a:gd name="T66" fmla="*/ 1 w 302"/>
                    <a:gd name="T67" fmla="*/ 3 h 272"/>
                    <a:gd name="T68" fmla="*/ 1 w 302"/>
                    <a:gd name="T69" fmla="*/ 2 h 272"/>
                    <a:gd name="T70" fmla="*/ 1 w 302"/>
                    <a:gd name="T71" fmla="*/ 2 h 272"/>
                    <a:gd name="T72" fmla="*/ 1 w 302"/>
                    <a:gd name="T73" fmla="*/ 2 h 272"/>
                    <a:gd name="T74" fmla="*/ 1 w 302"/>
                    <a:gd name="T75" fmla="*/ 1 h 272"/>
                    <a:gd name="T76" fmla="*/ 1 w 302"/>
                    <a:gd name="T77" fmla="*/ 1 h 272"/>
                    <a:gd name="T78" fmla="*/ 2 w 302"/>
                    <a:gd name="T79" fmla="*/ 0 h 272"/>
                    <a:gd name="T80" fmla="*/ 2 w 302"/>
                    <a:gd name="T81" fmla="*/ 0 h 272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w 302"/>
                    <a:gd name="T124" fmla="*/ 0 h 272"/>
                    <a:gd name="T125" fmla="*/ 302 w 302"/>
                    <a:gd name="T126" fmla="*/ 272 h 272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T123" t="T124" r="T125" b="T126"/>
                  <a:pathLst>
                    <a:path w="302" h="272">
                      <a:moveTo>
                        <a:pt x="96" y="0"/>
                      </a:moveTo>
                      <a:lnTo>
                        <a:pt x="125" y="5"/>
                      </a:lnTo>
                      <a:lnTo>
                        <a:pt x="147" y="25"/>
                      </a:lnTo>
                      <a:lnTo>
                        <a:pt x="189" y="25"/>
                      </a:lnTo>
                      <a:lnTo>
                        <a:pt x="232" y="31"/>
                      </a:lnTo>
                      <a:lnTo>
                        <a:pt x="254" y="65"/>
                      </a:lnTo>
                      <a:lnTo>
                        <a:pt x="270" y="109"/>
                      </a:lnTo>
                      <a:lnTo>
                        <a:pt x="274" y="127"/>
                      </a:lnTo>
                      <a:lnTo>
                        <a:pt x="293" y="142"/>
                      </a:lnTo>
                      <a:lnTo>
                        <a:pt x="302" y="154"/>
                      </a:lnTo>
                      <a:lnTo>
                        <a:pt x="302" y="172"/>
                      </a:lnTo>
                      <a:lnTo>
                        <a:pt x="284" y="172"/>
                      </a:lnTo>
                      <a:lnTo>
                        <a:pt x="260" y="172"/>
                      </a:lnTo>
                      <a:lnTo>
                        <a:pt x="270" y="189"/>
                      </a:lnTo>
                      <a:lnTo>
                        <a:pt x="278" y="200"/>
                      </a:lnTo>
                      <a:lnTo>
                        <a:pt x="284" y="223"/>
                      </a:lnTo>
                      <a:lnTo>
                        <a:pt x="270" y="234"/>
                      </a:lnTo>
                      <a:lnTo>
                        <a:pt x="248" y="234"/>
                      </a:lnTo>
                      <a:lnTo>
                        <a:pt x="246" y="234"/>
                      </a:lnTo>
                      <a:lnTo>
                        <a:pt x="232" y="245"/>
                      </a:lnTo>
                      <a:lnTo>
                        <a:pt x="232" y="268"/>
                      </a:lnTo>
                      <a:lnTo>
                        <a:pt x="215" y="272"/>
                      </a:lnTo>
                      <a:lnTo>
                        <a:pt x="200" y="261"/>
                      </a:lnTo>
                      <a:lnTo>
                        <a:pt x="176" y="255"/>
                      </a:lnTo>
                      <a:lnTo>
                        <a:pt x="155" y="245"/>
                      </a:lnTo>
                      <a:lnTo>
                        <a:pt x="135" y="250"/>
                      </a:lnTo>
                      <a:lnTo>
                        <a:pt x="73" y="223"/>
                      </a:lnTo>
                      <a:lnTo>
                        <a:pt x="47" y="227"/>
                      </a:lnTo>
                      <a:lnTo>
                        <a:pt x="26" y="223"/>
                      </a:lnTo>
                      <a:lnTo>
                        <a:pt x="12" y="245"/>
                      </a:lnTo>
                      <a:lnTo>
                        <a:pt x="0" y="199"/>
                      </a:lnTo>
                      <a:lnTo>
                        <a:pt x="28" y="169"/>
                      </a:lnTo>
                      <a:lnTo>
                        <a:pt x="8" y="109"/>
                      </a:lnTo>
                      <a:lnTo>
                        <a:pt x="26" y="117"/>
                      </a:lnTo>
                      <a:lnTo>
                        <a:pt x="29" y="104"/>
                      </a:lnTo>
                      <a:lnTo>
                        <a:pt x="34" y="82"/>
                      </a:lnTo>
                      <a:lnTo>
                        <a:pt x="42" y="71"/>
                      </a:lnTo>
                      <a:lnTo>
                        <a:pt x="47" y="46"/>
                      </a:lnTo>
                      <a:lnTo>
                        <a:pt x="68" y="21"/>
                      </a:lnTo>
                      <a:lnTo>
                        <a:pt x="82" y="0"/>
                      </a:lnTo>
                      <a:lnTo>
                        <a:pt x="96" y="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3" name="Freeform 486"/>
                <p:cNvSpPr/>
                <p:nvPr/>
              </p:nvSpPr>
              <p:spPr bwMode="auto">
                <a:xfrm>
                  <a:off x="1654778" y="2786165"/>
                  <a:ext cx="323467" cy="203671"/>
                </a:xfrm>
                <a:custGeom>
                  <a:avLst/>
                  <a:gdLst>
                    <a:gd name="T0" fmla="*/ 8 w 671"/>
                    <a:gd name="T1" fmla="*/ 0 h 446"/>
                    <a:gd name="T2" fmla="*/ 9 w 671"/>
                    <a:gd name="T3" fmla="*/ 0 h 446"/>
                    <a:gd name="T4" fmla="*/ 10 w 671"/>
                    <a:gd name="T5" fmla="*/ 1 h 446"/>
                    <a:gd name="T6" fmla="*/ 10 w 671"/>
                    <a:gd name="T7" fmla="*/ 1 h 446"/>
                    <a:gd name="T8" fmla="*/ 11 w 671"/>
                    <a:gd name="T9" fmla="*/ 2 h 446"/>
                    <a:gd name="T10" fmla="*/ 13 w 671"/>
                    <a:gd name="T11" fmla="*/ 3 h 446"/>
                    <a:gd name="T12" fmla="*/ 14 w 671"/>
                    <a:gd name="T13" fmla="*/ 3 h 446"/>
                    <a:gd name="T14" fmla="*/ 15 w 671"/>
                    <a:gd name="T15" fmla="*/ 4 h 446"/>
                    <a:gd name="T16" fmla="*/ 15 w 671"/>
                    <a:gd name="T17" fmla="*/ 6 h 446"/>
                    <a:gd name="T18" fmla="*/ 13 w 671"/>
                    <a:gd name="T19" fmla="*/ 7 h 446"/>
                    <a:gd name="T20" fmla="*/ 11 w 671"/>
                    <a:gd name="T21" fmla="*/ 9 h 446"/>
                    <a:gd name="T22" fmla="*/ 11 w 671"/>
                    <a:gd name="T23" fmla="*/ 9 h 446"/>
                    <a:gd name="T24" fmla="*/ 11 w 671"/>
                    <a:gd name="T25" fmla="*/ 11 h 446"/>
                    <a:gd name="T26" fmla="*/ 10 w 671"/>
                    <a:gd name="T27" fmla="*/ 9 h 446"/>
                    <a:gd name="T28" fmla="*/ 9 w 671"/>
                    <a:gd name="T29" fmla="*/ 8 h 446"/>
                    <a:gd name="T30" fmla="*/ 9 w 671"/>
                    <a:gd name="T31" fmla="*/ 7 h 446"/>
                    <a:gd name="T32" fmla="*/ 7 w 671"/>
                    <a:gd name="T33" fmla="*/ 9 h 446"/>
                    <a:gd name="T34" fmla="*/ 6 w 671"/>
                    <a:gd name="T35" fmla="*/ 8 h 446"/>
                    <a:gd name="T36" fmla="*/ 7 w 671"/>
                    <a:gd name="T37" fmla="*/ 8 h 446"/>
                    <a:gd name="T38" fmla="*/ 7 w 671"/>
                    <a:gd name="T39" fmla="*/ 7 h 446"/>
                    <a:gd name="T40" fmla="*/ 6 w 671"/>
                    <a:gd name="T41" fmla="*/ 6 h 446"/>
                    <a:gd name="T42" fmla="*/ 5 w 671"/>
                    <a:gd name="T43" fmla="*/ 5 h 446"/>
                    <a:gd name="T44" fmla="*/ 2 w 671"/>
                    <a:gd name="T45" fmla="*/ 6 h 446"/>
                    <a:gd name="T46" fmla="*/ 1 w 671"/>
                    <a:gd name="T47" fmla="*/ 6 h 446"/>
                    <a:gd name="T48" fmla="*/ 0 w 671"/>
                    <a:gd name="T49" fmla="*/ 4 h 446"/>
                    <a:gd name="T50" fmla="*/ 2 w 671"/>
                    <a:gd name="T51" fmla="*/ 2 h 446"/>
                    <a:gd name="T52" fmla="*/ 1 w 671"/>
                    <a:gd name="T53" fmla="*/ 1 h 446"/>
                    <a:gd name="T54" fmla="*/ 2 w 671"/>
                    <a:gd name="T55" fmla="*/ 1 h 446"/>
                    <a:gd name="T56" fmla="*/ 3 w 671"/>
                    <a:gd name="T57" fmla="*/ 1 h 446"/>
                    <a:gd name="T58" fmla="*/ 5 w 671"/>
                    <a:gd name="T59" fmla="*/ 1 h 446"/>
                    <a:gd name="T60" fmla="*/ 6 w 671"/>
                    <a:gd name="T61" fmla="*/ 1 h 446"/>
                    <a:gd name="T62" fmla="*/ 7 w 671"/>
                    <a:gd name="T63" fmla="*/ 2 h 446"/>
                    <a:gd name="T64" fmla="*/ 7 w 671"/>
                    <a:gd name="T65" fmla="*/ 1 h 446"/>
                    <a:gd name="T66" fmla="*/ 7 w 671"/>
                    <a:gd name="T67" fmla="*/ 1 h 44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671"/>
                    <a:gd name="T103" fmla="*/ 0 h 446"/>
                    <a:gd name="T104" fmla="*/ 671 w 671"/>
                    <a:gd name="T105" fmla="*/ 446 h 44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671" h="446">
                      <a:moveTo>
                        <a:pt x="334" y="20"/>
                      </a:moveTo>
                      <a:lnTo>
                        <a:pt x="344" y="17"/>
                      </a:lnTo>
                      <a:lnTo>
                        <a:pt x="362" y="4"/>
                      </a:lnTo>
                      <a:lnTo>
                        <a:pt x="379" y="0"/>
                      </a:lnTo>
                      <a:lnTo>
                        <a:pt x="406" y="4"/>
                      </a:lnTo>
                      <a:lnTo>
                        <a:pt x="418" y="27"/>
                      </a:lnTo>
                      <a:lnTo>
                        <a:pt x="424" y="54"/>
                      </a:lnTo>
                      <a:lnTo>
                        <a:pt x="435" y="63"/>
                      </a:lnTo>
                      <a:lnTo>
                        <a:pt x="448" y="58"/>
                      </a:lnTo>
                      <a:lnTo>
                        <a:pt x="481" y="95"/>
                      </a:lnTo>
                      <a:lnTo>
                        <a:pt x="498" y="124"/>
                      </a:lnTo>
                      <a:lnTo>
                        <a:pt x="542" y="145"/>
                      </a:lnTo>
                      <a:lnTo>
                        <a:pt x="574" y="150"/>
                      </a:lnTo>
                      <a:lnTo>
                        <a:pt x="587" y="145"/>
                      </a:lnTo>
                      <a:lnTo>
                        <a:pt x="617" y="160"/>
                      </a:lnTo>
                      <a:lnTo>
                        <a:pt x="650" y="165"/>
                      </a:lnTo>
                      <a:lnTo>
                        <a:pt x="671" y="233"/>
                      </a:lnTo>
                      <a:lnTo>
                        <a:pt x="638" y="242"/>
                      </a:lnTo>
                      <a:lnTo>
                        <a:pt x="631" y="276"/>
                      </a:lnTo>
                      <a:lnTo>
                        <a:pt x="579" y="311"/>
                      </a:lnTo>
                      <a:lnTo>
                        <a:pt x="500" y="334"/>
                      </a:lnTo>
                      <a:lnTo>
                        <a:pt x="491" y="366"/>
                      </a:lnTo>
                      <a:lnTo>
                        <a:pt x="462" y="352"/>
                      </a:lnTo>
                      <a:lnTo>
                        <a:pt x="493" y="395"/>
                      </a:lnTo>
                      <a:lnTo>
                        <a:pt x="540" y="400"/>
                      </a:lnTo>
                      <a:lnTo>
                        <a:pt x="453" y="446"/>
                      </a:lnTo>
                      <a:lnTo>
                        <a:pt x="400" y="396"/>
                      </a:lnTo>
                      <a:lnTo>
                        <a:pt x="444" y="358"/>
                      </a:lnTo>
                      <a:lnTo>
                        <a:pt x="400" y="349"/>
                      </a:lnTo>
                      <a:lnTo>
                        <a:pt x="376" y="349"/>
                      </a:lnTo>
                      <a:lnTo>
                        <a:pt x="383" y="315"/>
                      </a:lnTo>
                      <a:lnTo>
                        <a:pt x="374" y="320"/>
                      </a:lnTo>
                      <a:lnTo>
                        <a:pt x="310" y="338"/>
                      </a:lnTo>
                      <a:lnTo>
                        <a:pt x="289" y="396"/>
                      </a:lnTo>
                      <a:lnTo>
                        <a:pt x="244" y="394"/>
                      </a:lnTo>
                      <a:lnTo>
                        <a:pt x="254" y="352"/>
                      </a:lnTo>
                      <a:lnTo>
                        <a:pt x="255" y="334"/>
                      </a:lnTo>
                      <a:lnTo>
                        <a:pt x="283" y="325"/>
                      </a:lnTo>
                      <a:lnTo>
                        <a:pt x="295" y="312"/>
                      </a:lnTo>
                      <a:lnTo>
                        <a:pt x="298" y="302"/>
                      </a:lnTo>
                      <a:lnTo>
                        <a:pt x="283" y="296"/>
                      </a:lnTo>
                      <a:lnTo>
                        <a:pt x="262" y="253"/>
                      </a:lnTo>
                      <a:lnTo>
                        <a:pt x="236" y="227"/>
                      </a:lnTo>
                      <a:lnTo>
                        <a:pt x="203" y="227"/>
                      </a:lnTo>
                      <a:lnTo>
                        <a:pt x="162" y="239"/>
                      </a:lnTo>
                      <a:lnTo>
                        <a:pt x="100" y="242"/>
                      </a:lnTo>
                      <a:lnTo>
                        <a:pt x="72" y="250"/>
                      </a:lnTo>
                      <a:lnTo>
                        <a:pt x="24" y="250"/>
                      </a:lnTo>
                      <a:lnTo>
                        <a:pt x="0" y="224"/>
                      </a:lnTo>
                      <a:lnTo>
                        <a:pt x="16" y="185"/>
                      </a:lnTo>
                      <a:lnTo>
                        <a:pt x="41" y="143"/>
                      </a:lnTo>
                      <a:lnTo>
                        <a:pt x="73" y="99"/>
                      </a:lnTo>
                      <a:lnTo>
                        <a:pt x="56" y="47"/>
                      </a:lnTo>
                      <a:lnTo>
                        <a:pt x="57" y="38"/>
                      </a:lnTo>
                      <a:lnTo>
                        <a:pt x="70" y="27"/>
                      </a:lnTo>
                      <a:lnTo>
                        <a:pt x="91" y="31"/>
                      </a:lnTo>
                      <a:lnTo>
                        <a:pt x="117" y="27"/>
                      </a:lnTo>
                      <a:lnTo>
                        <a:pt x="143" y="39"/>
                      </a:lnTo>
                      <a:lnTo>
                        <a:pt x="177" y="54"/>
                      </a:lnTo>
                      <a:lnTo>
                        <a:pt x="199" y="47"/>
                      </a:lnTo>
                      <a:lnTo>
                        <a:pt x="220" y="59"/>
                      </a:lnTo>
                      <a:lnTo>
                        <a:pt x="244" y="65"/>
                      </a:lnTo>
                      <a:lnTo>
                        <a:pt x="259" y="76"/>
                      </a:lnTo>
                      <a:lnTo>
                        <a:pt x="276" y="72"/>
                      </a:lnTo>
                      <a:lnTo>
                        <a:pt x="279" y="49"/>
                      </a:lnTo>
                      <a:lnTo>
                        <a:pt x="290" y="38"/>
                      </a:lnTo>
                      <a:lnTo>
                        <a:pt x="314" y="38"/>
                      </a:lnTo>
                      <a:lnTo>
                        <a:pt x="322" y="31"/>
                      </a:lnTo>
                      <a:lnTo>
                        <a:pt x="334" y="20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4" name="Freeform 487"/>
                <p:cNvSpPr/>
                <p:nvPr/>
              </p:nvSpPr>
              <p:spPr bwMode="auto">
                <a:xfrm>
                  <a:off x="1737329" y="2889591"/>
                  <a:ext cx="62335" cy="74785"/>
                </a:xfrm>
                <a:custGeom>
                  <a:avLst/>
                  <a:gdLst>
                    <a:gd name="T0" fmla="*/ 1 w 129"/>
                    <a:gd name="T1" fmla="*/ 1 h 165"/>
                    <a:gd name="T2" fmla="*/ 1 w 129"/>
                    <a:gd name="T3" fmla="*/ 2 h 165"/>
                    <a:gd name="T4" fmla="*/ 1 w 129"/>
                    <a:gd name="T5" fmla="*/ 2 h 165"/>
                    <a:gd name="T6" fmla="*/ 1 w 129"/>
                    <a:gd name="T7" fmla="*/ 4 h 165"/>
                    <a:gd name="T8" fmla="*/ 2 w 129"/>
                    <a:gd name="T9" fmla="*/ 4 h 165"/>
                    <a:gd name="T10" fmla="*/ 2 w 129"/>
                    <a:gd name="T11" fmla="*/ 3 h 165"/>
                    <a:gd name="T12" fmla="*/ 2 w 129"/>
                    <a:gd name="T13" fmla="*/ 3 h 165"/>
                    <a:gd name="T14" fmla="*/ 3 w 129"/>
                    <a:gd name="T15" fmla="*/ 2 h 165"/>
                    <a:gd name="T16" fmla="*/ 3 w 129"/>
                    <a:gd name="T17" fmla="*/ 2 h 165"/>
                    <a:gd name="T18" fmla="*/ 3 w 129"/>
                    <a:gd name="T19" fmla="*/ 2 h 165"/>
                    <a:gd name="T20" fmla="*/ 2 w 129"/>
                    <a:gd name="T21" fmla="*/ 1 h 165"/>
                    <a:gd name="T22" fmla="*/ 1 w 129"/>
                    <a:gd name="T23" fmla="*/ 0 h 165"/>
                    <a:gd name="T24" fmla="*/ 1 w 129"/>
                    <a:gd name="T25" fmla="*/ 0 h 165"/>
                    <a:gd name="T26" fmla="*/ 0 w 129"/>
                    <a:gd name="T27" fmla="*/ 0 h 165"/>
                    <a:gd name="T28" fmla="*/ 1 w 129"/>
                    <a:gd name="T29" fmla="*/ 1 h 16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29"/>
                    <a:gd name="T46" fmla="*/ 0 h 165"/>
                    <a:gd name="T47" fmla="*/ 129 w 129"/>
                    <a:gd name="T48" fmla="*/ 165 h 165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29" h="165">
                      <a:moveTo>
                        <a:pt x="29" y="45"/>
                      </a:moveTo>
                      <a:lnTo>
                        <a:pt x="46" y="69"/>
                      </a:lnTo>
                      <a:lnTo>
                        <a:pt x="53" y="87"/>
                      </a:lnTo>
                      <a:lnTo>
                        <a:pt x="61" y="164"/>
                      </a:lnTo>
                      <a:lnTo>
                        <a:pt x="73" y="165"/>
                      </a:lnTo>
                      <a:lnTo>
                        <a:pt x="83" y="125"/>
                      </a:lnTo>
                      <a:lnTo>
                        <a:pt x="84" y="106"/>
                      </a:lnTo>
                      <a:lnTo>
                        <a:pt x="121" y="93"/>
                      </a:lnTo>
                      <a:lnTo>
                        <a:pt x="129" y="76"/>
                      </a:lnTo>
                      <a:lnTo>
                        <a:pt x="115" y="71"/>
                      </a:lnTo>
                      <a:lnTo>
                        <a:pt x="93" y="27"/>
                      </a:lnTo>
                      <a:lnTo>
                        <a:pt x="65" y="3"/>
                      </a:lnTo>
                      <a:lnTo>
                        <a:pt x="32" y="0"/>
                      </a:lnTo>
                      <a:lnTo>
                        <a:pt x="0" y="6"/>
                      </a:lnTo>
                      <a:lnTo>
                        <a:pt x="29" y="45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5" name="Freeform 488"/>
                <p:cNvSpPr/>
                <p:nvPr/>
              </p:nvSpPr>
              <p:spPr bwMode="auto">
                <a:xfrm>
                  <a:off x="1958028" y="2989835"/>
                  <a:ext cx="134778" cy="66829"/>
                </a:xfrm>
                <a:custGeom>
                  <a:avLst/>
                  <a:gdLst>
                    <a:gd name="T0" fmla="*/ 0 w 282"/>
                    <a:gd name="T1" fmla="*/ 0 h 147"/>
                    <a:gd name="T2" fmla="*/ 1 w 282"/>
                    <a:gd name="T3" fmla="*/ 0 h 147"/>
                    <a:gd name="T4" fmla="*/ 3 w 282"/>
                    <a:gd name="T5" fmla="*/ 1 h 147"/>
                    <a:gd name="T6" fmla="*/ 4 w 282"/>
                    <a:gd name="T7" fmla="*/ 1 h 147"/>
                    <a:gd name="T8" fmla="*/ 4 w 282"/>
                    <a:gd name="T9" fmla="*/ 1 h 147"/>
                    <a:gd name="T10" fmla="*/ 5 w 282"/>
                    <a:gd name="T11" fmla="*/ 1 h 147"/>
                    <a:gd name="T12" fmla="*/ 5 w 282"/>
                    <a:gd name="T13" fmla="*/ 1 h 147"/>
                    <a:gd name="T14" fmla="*/ 6 w 282"/>
                    <a:gd name="T15" fmla="*/ 2 h 147"/>
                    <a:gd name="T16" fmla="*/ 6 w 282"/>
                    <a:gd name="T17" fmla="*/ 2 h 147"/>
                    <a:gd name="T18" fmla="*/ 6 w 282"/>
                    <a:gd name="T19" fmla="*/ 2 h 147"/>
                    <a:gd name="T20" fmla="*/ 7 w 282"/>
                    <a:gd name="T21" fmla="*/ 3 h 147"/>
                    <a:gd name="T22" fmla="*/ 6 w 282"/>
                    <a:gd name="T23" fmla="*/ 3 h 147"/>
                    <a:gd name="T24" fmla="*/ 6 w 282"/>
                    <a:gd name="T25" fmla="*/ 3 h 147"/>
                    <a:gd name="T26" fmla="*/ 5 w 282"/>
                    <a:gd name="T27" fmla="*/ 3 h 147"/>
                    <a:gd name="T28" fmla="*/ 5 w 282"/>
                    <a:gd name="T29" fmla="*/ 3 h 147"/>
                    <a:gd name="T30" fmla="*/ 5 w 282"/>
                    <a:gd name="T31" fmla="*/ 3 h 147"/>
                    <a:gd name="T32" fmla="*/ 4 w 282"/>
                    <a:gd name="T33" fmla="*/ 3 h 147"/>
                    <a:gd name="T34" fmla="*/ 3 w 282"/>
                    <a:gd name="T35" fmla="*/ 3 h 147"/>
                    <a:gd name="T36" fmla="*/ 3 w 282"/>
                    <a:gd name="T37" fmla="*/ 3 h 147"/>
                    <a:gd name="T38" fmla="*/ 3 w 282"/>
                    <a:gd name="T39" fmla="*/ 2 h 147"/>
                    <a:gd name="T40" fmla="*/ 1 w 282"/>
                    <a:gd name="T41" fmla="*/ 1 h 147"/>
                    <a:gd name="T42" fmla="*/ 0 w 282"/>
                    <a:gd name="T43" fmla="*/ 0 h 147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w 282"/>
                    <a:gd name="T67" fmla="*/ 0 h 147"/>
                    <a:gd name="T68" fmla="*/ 282 w 282"/>
                    <a:gd name="T69" fmla="*/ 147 h 147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T66" t="T67" r="T68" b="T69"/>
                  <a:pathLst>
                    <a:path w="282" h="147">
                      <a:moveTo>
                        <a:pt x="0" y="8"/>
                      </a:moveTo>
                      <a:lnTo>
                        <a:pt x="68" y="0"/>
                      </a:lnTo>
                      <a:lnTo>
                        <a:pt x="130" y="31"/>
                      </a:lnTo>
                      <a:lnTo>
                        <a:pt x="160" y="63"/>
                      </a:lnTo>
                      <a:lnTo>
                        <a:pt x="192" y="63"/>
                      </a:lnTo>
                      <a:lnTo>
                        <a:pt x="214" y="50"/>
                      </a:lnTo>
                      <a:lnTo>
                        <a:pt x="235" y="43"/>
                      </a:lnTo>
                      <a:lnTo>
                        <a:pt x="249" y="78"/>
                      </a:lnTo>
                      <a:lnTo>
                        <a:pt x="278" y="86"/>
                      </a:lnTo>
                      <a:lnTo>
                        <a:pt x="275" y="100"/>
                      </a:lnTo>
                      <a:lnTo>
                        <a:pt x="282" y="125"/>
                      </a:lnTo>
                      <a:lnTo>
                        <a:pt x="278" y="144"/>
                      </a:lnTo>
                      <a:lnTo>
                        <a:pt x="249" y="115"/>
                      </a:lnTo>
                      <a:lnTo>
                        <a:pt x="235" y="105"/>
                      </a:lnTo>
                      <a:lnTo>
                        <a:pt x="215" y="105"/>
                      </a:lnTo>
                      <a:lnTo>
                        <a:pt x="208" y="139"/>
                      </a:lnTo>
                      <a:lnTo>
                        <a:pt x="187" y="130"/>
                      </a:lnTo>
                      <a:lnTo>
                        <a:pt x="152" y="147"/>
                      </a:lnTo>
                      <a:lnTo>
                        <a:pt x="110" y="142"/>
                      </a:lnTo>
                      <a:lnTo>
                        <a:pt x="109" y="86"/>
                      </a:lnTo>
                      <a:lnTo>
                        <a:pt x="39" y="35"/>
                      </a:lnTo>
                      <a:lnTo>
                        <a:pt x="0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6" name="Freeform 489"/>
                <p:cNvSpPr/>
                <p:nvPr/>
              </p:nvSpPr>
              <p:spPr bwMode="auto">
                <a:xfrm>
                  <a:off x="2059111" y="3029615"/>
                  <a:ext cx="112876" cy="100244"/>
                </a:xfrm>
                <a:custGeom>
                  <a:avLst/>
                  <a:gdLst>
                    <a:gd name="T0" fmla="*/ 2 w 234"/>
                    <a:gd name="T1" fmla="*/ 0 h 221"/>
                    <a:gd name="T2" fmla="*/ 2 w 234"/>
                    <a:gd name="T3" fmla="*/ 0 h 221"/>
                    <a:gd name="T4" fmla="*/ 3 w 234"/>
                    <a:gd name="T5" fmla="*/ 0 h 221"/>
                    <a:gd name="T6" fmla="*/ 4 w 234"/>
                    <a:gd name="T7" fmla="*/ 1 h 221"/>
                    <a:gd name="T8" fmla="*/ 5 w 234"/>
                    <a:gd name="T9" fmla="*/ 2 h 221"/>
                    <a:gd name="T10" fmla="*/ 5 w 234"/>
                    <a:gd name="T11" fmla="*/ 3 h 221"/>
                    <a:gd name="T12" fmla="*/ 5 w 234"/>
                    <a:gd name="T13" fmla="*/ 3 h 221"/>
                    <a:gd name="T14" fmla="*/ 5 w 234"/>
                    <a:gd name="T15" fmla="*/ 4 h 221"/>
                    <a:gd name="T16" fmla="*/ 5 w 234"/>
                    <a:gd name="T17" fmla="*/ 4 h 221"/>
                    <a:gd name="T18" fmla="*/ 4 w 234"/>
                    <a:gd name="T19" fmla="*/ 5 h 221"/>
                    <a:gd name="T20" fmla="*/ 4 w 234"/>
                    <a:gd name="T21" fmla="*/ 5 h 221"/>
                    <a:gd name="T22" fmla="*/ 3 w 234"/>
                    <a:gd name="T23" fmla="*/ 4 h 221"/>
                    <a:gd name="T24" fmla="*/ 3 w 234"/>
                    <a:gd name="T25" fmla="*/ 4 h 221"/>
                    <a:gd name="T26" fmla="*/ 2 w 234"/>
                    <a:gd name="T27" fmla="*/ 5 h 221"/>
                    <a:gd name="T28" fmla="*/ 1 w 234"/>
                    <a:gd name="T29" fmla="*/ 5 h 221"/>
                    <a:gd name="T30" fmla="*/ 1 w 234"/>
                    <a:gd name="T31" fmla="*/ 4 h 221"/>
                    <a:gd name="T32" fmla="*/ 1 w 234"/>
                    <a:gd name="T33" fmla="*/ 4 h 221"/>
                    <a:gd name="T34" fmla="*/ 1 w 234"/>
                    <a:gd name="T35" fmla="*/ 3 h 221"/>
                    <a:gd name="T36" fmla="*/ 1 w 234"/>
                    <a:gd name="T37" fmla="*/ 4 h 221"/>
                    <a:gd name="T38" fmla="*/ 2 w 234"/>
                    <a:gd name="T39" fmla="*/ 4 h 221"/>
                    <a:gd name="T40" fmla="*/ 3 w 234"/>
                    <a:gd name="T41" fmla="*/ 4 h 221"/>
                    <a:gd name="T42" fmla="*/ 1 w 234"/>
                    <a:gd name="T43" fmla="*/ 3 h 221"/>
                    <a:gd name="T44" fmla="*/ 1 w 234"/>
                    <a:gd name="T45" fmla="*/ 2 h 221"/>
                    <a:gd name="T46" fmla="*/ 1 w 234"/>
                    <a:gd name="T47" fmla="*/ 2 h 221"/>
                    <a:gd name="T48" fmla="*/ 1 w 234"/>
                    <a:gd name="T49" fmla="*/ 1 h 221"/>
                    <a:gd name="T50" fmla="*/ 1 w 234"/>
                    <a:gd name="T51" fmla="*/ 1 h 221"/>
                    <a:gd name="T52" fmla="*/ 0 w 234"/>
                    <a:gd name="T53" fmla="*/ 1 h 221"/>
                    <a:gd name="T54" fmla="*/ 0 w 234"/>
                    <a:gd name="T55" fmla="*/ 1 h 221"/>
                    <a:gd name="T56" fmla="*/ 0 w 234"/>
                    <a:gd name="T57" fmla="*/ 0 h 221"/>
                    <a:gd name="T58" fmla="*/ 1 w 234"/>
                    <a:gd name="T59" fmla="*/ 0 h 221"/>
                    <a:gd name="T60" fmla="*/ 1 w 234"/>
                    <a:gd name="T61" fmla="*/ 1 h 221"/>
                    <a:gd name="T62" fmla="*/ 2 w 234"/>
                    <a:gd name="T63" fmla="*/ 1 h 221"/>
                    <a:gd name="T64" fmla="*/ 2 w 234"/>
                    <a:gd name="T65" fmla="*/ 1 h 221"/>
                    <a:gd name="T66" fmla="*/ 1 w 234"/>
                    <a:gd name="T67" fmla="*/ 0 h 221"/>
                    <a:gd name="T68" fmla="*/ 2 w 234"/>
                    <a:gd name="T69" fmla="*/ 0 h 221"/>
                    <a:gd name="T70" fmla="*/ 2 w 234"/>
                    <a:gd name="T71" fmla="*/ 0 h 221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234"/>
                    <a:gd name="T109" fmla="*/ 0 h 221"/>
                    <a:gd name="T110" fmla="*/ 234 w 234"/>
                    <a:gd name="T111" fmla="*/ 221 h 221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234" h="221">
                      <a:moveTo>
                        <a:pt x="89" y="8"/>
                      </a:moveTo>
                      <a:lnTo>
                        <a:pt x="103" y="8"/>
                      </a:lnTo>
                      <a:lnTo>
                        <a:pt x="137" y="19"/>
                      </a:lnTo>
                      <a:lnTo>
                        <a:pt x="171" y="49"/>
                      </a:lnTo>
                      <a:lnTo>
                        <a:pt x="193" y="83"/>
                      </a:lnTo>
                      <a:lnTo>
                        <a:pt x="234" y="125"/>
                      </a:lnTo>
                      <a:lnTo>
                        <a:pt x="211" y="134"/>
                      </a:lnTo>
                      <a:lnTo>
                        <a:pt x="199" y="160"/>
                      </a:lnTo>
                      <a:lnTo>
                        <a:pt x="196" y="172"/>
                      </a:lnTo>
                      <a:lnTo>
                        <a:pt x="185" y="221"/>
                      </a:lnTo>
                      <a:lnTo>
                        <a:pt x="153" y="207"/>
                      </a:lnTo>
                      <a:lnTo>
                        <a:pt x="143" y="165"/>
                      </a:lnTo>
                      <a:lnTo>
                        <a:pt x="114" y="181"/>
                      </a:lnTo>
                      <a:lnTo>
                        <a:pt x="79" y="206"/>
                      </a:lnTo>
                      <a:lnTo>
                        <a:pt x="59" y="200"/>
                      </a:lnTo>
                      <a:lnTo>
                        <a:pt x="42" y="180"/>
                      </a:lnTo>
                      <a:lnTo>
                        <a:pt x="34" y="160"/>
                      </a:lnTo>
                      <a:lnTo>
                        <a:pt x="46" y="141"/>
                      </a:lnTo>
                      <a:lnTo>
                        <a:pt x="56" y="156"/>
                      </a:lnTo>
                      <a:lnTo>
                        <a:pt x="98" y="179"/>
                      </a:lnTo>
                      <a:lnTo>
                        <a:pt x="108" y="158"/>
                      </a:lnTo>
                      <a:lnTo>
                        <a:pt x="68" y="123"/>
                      </a:lnTo>
                      <a:lnTo>
                        <a:pt x="53" y="94"/>
                      </a:lnTo>
                      <a:lnTo>
                        <a:pt x="41" y="83"/>
                      </a:lnTo>
                      <a:lnTo>
                        <a:pt x="41" y="65"/>
                      </a:lnTo>
                      <a:lnTo>
                        <a:pt x="27" y="58"/>
                      </a:lnTo>
                      <a:lnTo>
                        <a:pt x="0" y="54"/>
                      </a:lnTo>
                      <a:lnTo>
                        <a:pt x="6" y="33"/>
                      </a:lnTo>
                      <a:lnTo>
                        <a:pt x="8" y="19"/>
                      </a:lnTo>
                      <a:lnTo>
                        <a:pt x="30" y="19"/>
                      </a:lnTo>
                      <a:lnTo>
                        <a:pt x="41" y="29"/>
                      </a:lnTo>
                      <a:lnTo>
                        <a:pt x="70" y="58"/>
                      </a:lnTo>
                      <a:lnTo>
                        <a:pt x="74" y="39"/>
                      </a:lnTo>
                      <a:lnTo>
                        <a:pt x="67" y="16"/>
                      </a:lnTo>
                      <a:lnTo>
                        <a:pt x="70" y="0"/>
                      </a:lnTo>
                      <a:lnTo>
                        <a:pt x="89" y="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7" name="Freeform 490"/>
                <p:cNvSpPr/>
                <p:nvPr/>
              </p:nvSpPr>
              <p:spPr bwMode="auto">
                <a:xfrm>
                  <a:off x="2035525" y="3048709"/>
                  <a:ext cx="75813" cy="62056"/>
                </a:xfrm>
                <a:custGeom>
                  <a:avLst/>
                  <a:gdLst>
                    <a:gd name="T0" fmla="*/ 0 w 156"/>
                    <a:gd name="T1" fmla="*/ 0 h 135"/>
                    <a:gd name="T2" fmla="*/ 0 w 156"/>
                    <a:gd name="T3" fmla="*/ 1 h 135"/>
                    <a:gd name="T4" fmla="*/ 1 w 156"/>
                    <a:gd name="T5" fmla="*/ 2 h 135"/>
                    <a:gd name="T6" fmla="*/ 2 w 156"/>
                    <a:gd name="T7" fmla="*/ 3 h 135"/>
                    <a:gd name="T8" fmla="*/ 2 w 156"/>
                    <a:gd name="T9" fmla="*/ 2 h 135"/>
                    <a:gd name="T10" fmla="*/ 2 w 156"/>
                    <a:gd name="T11" fmla="*/ 3 h 135"/>
                    <a:gd name="T12" fmla="*/ 3 w 156"/>
                    <a:gd name="T13" fmla="*/ 3 h 135"/>
                    <a:gd name="T14" fmla="*/ 3 w 156"/>
                    <a:gd name="T15" fmla="*/ 3 h 135"/>
                    <a:gd name="T16" fmla="*/ 4 w 156"/>
                    <a:gd name="T17" fmla="*/ 3 h 135"/>
                    <a:gd name="T18" fmla="*/ 3 w 156"/>
                    <a:gd name="T19" fmla="*/ 2 h 135"/>
                    <a:gd name="T20" fmla="*/ 3 w 156"/>
                    <a:gd name="T21" fmla="*/ 1 h 135"/>
                    <a:gd name="T22" fmla="*/ 2 w 156"/>
                    <a:gd name="T23" fmla="*/ 1 h 135"/>
                    <a:gd name="T24" fmla="*/ 2 w 156"/>
                    <a:gd name="T25" fmla="*/ 1 h 135"/>
                    <a:gd name="T26" fmla="*/ 2 w 156"/>
                    <a:gd name="T27" fmla="*/ 0 h 135"/>
                    <a:gd name="T28" fmla="*/ 1 w 156"/>
                    <a:gd name="T29" fmla="*/ 0 h 135"/>
                    <a:gd name="T30" fmla="*/ 1 w 156"/>
                    <a:gd name="T31" fmla="*/ 0 h 135"/>
                    <a:gd name="T32" fmla="*/ 0 w 156"/>
                    <a:gd name="T33" fmla="*/ 0 h 135"/>
                    <a:gd name="T34" fmla="*/ 0 w 156"/>
                    <a:gd name="T35" fmla="*/ 0 h 135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w 156"/>
                    <a:gd name="T55" fmla="*/ 0 h 135"/>
                    <a:gd name="T56" fmla="*/ 156 w 156"/>
                    <a:gd name="T57" fmla="*/ 135 h 135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T54" t="T55" r="T56" b="T57"/>
                  <a:pathLst>
                    <a:path w="156" h="135">
                      <a:moveTo>
                        <a:pt x="0" y="18"/>
                      </a:moveTo>
                      <a:lnTo>
                        <a:pt x="16" y="40"/>
                      </a:lnTo>
                      <a:lnTo>
                        <a:pt x="40" y="74"/>
                      </a:lnTo>
                      <a:lnTo>
                        <a:pt x="77" y="117"/>
                      </a:lnTo>
                      <a:lnTo>
                        <a:pt x="99" y="91"/>
                      </a:lnTo>
                      <a:lnTo>
                        <a:pt x="100" y="114"/>
                      </a:lnTo>
                      <a:lnTo>
                        <a:pt x="117" y="117"/>
                      </a:lnTo>
                      <a:lnTo>
                        <a:pt x="145" y="135"/>
                      </a:lnTo>
                      <a:lnTo>
                        <a:pt x="156" y="114"/>
                      </a:lnTo>
                      <a:lnTo>
                        <a:pt x="116" y="79"/>
                      </a:lnTo>
                      <a:lnTo>
                        <a:pt x="104" y="52"/>
                      </a:lnTo>
                      <a:lnTo>
                        <a:pt x="89" y="39"/>
                      </a:lnTo>
                      <a:lnTo>
                        <a:pt x="89" y="21"/>
                      </a:lnTo>
                      <a:lnTo>
                        <a:pt x="75" y="14"/>
                      </a:lnTo>
                      <a:lnTo>
                        <a:pt x="47" y="9"/>
                      </a:lnTo>
                      <a:lnTo>
                        <a:pt x="26" y="0"/>
                      </a:lnTo>
                      <a:lnTo>
                        <a:pt x="5" y="4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8" name="Freeform 491"/>
                <p:cNvSpPr/>
                <p:nvPr/>
              </p:nvSpPr>
              <p:spPr bwMode="auto">
                <a:xfrm>
                  <a:off x="2077643" y="2705014"/>
                  <a:ext cx="766549" cy="361197"/>
                </a:xfrm>
                <a:custGeom>
                  <a:avLst/>
                  <a:gdLst>
                    <a:gd name="T0" fmla="*/ 35 w 1596"/>
                    <a:gd name="T1" fmla="*/ 8 h 795"/>
                    <a:gd name="T2" fmla="*/ 31 w 1596"/>
                    <a:gd name="T3" fmla="*/ 7 h 795"/>
                    <a:gd name="T4" fmla="*/ 30 w 1596"/>
                    <a:gd name="T5" fmla="*/ 6 h 795"/>
                    <a:gd name="T6" fmla="*/ 29 w 1596"/>
                    <a:gd name="T7" fmla="*/ 6 h 795"/>
                    <a:gd name="T8" fmla="*/ 27 w 1596"/>
                    <a:gd name="T9" fmla="*/ 5 h 795"/>
                    <a:gd name="T10" fmla="*/ 24 w 1596"/>
                    <a:gd name="T11" fmla="*/ 3 h 795"/>
                    <a:gd name="T12" fmla="*/ 20 w 1596"/>
                    <a:gd name="T13" fmla="*/ 2 h 795"/>
                    <a:gd name="T14" fmla="*/ 17 w 1596"/>
                    <a:gd name="T15" fmla="*/ 1 h 795"/>
                    <a:gd name="T16" fmla="*/ 15 w 1596"/>
                    <a:gd name="T17" fmla="*/ 1 h 795"/>
                    <a:gd name="T18" fmla="*/ 12 w 1596"/>
                    <a:gd name="T19" fmla="*/ 1 h 795"/>
                    <a:gd name="T20" fmla="*/ 9 w 1596"/>
                    <a:gd name="T21" fmla="*/ 1 h 795"/>
                    <a:gd name="T22" fmla="*/ 9 w 1596"/>
                    <a:gd name="T23" fmla="*/ 4 h 795"/>
                    <a:gd name="T24" fmla="*/ 10 w 1596"/>
                    <a:gd name="T25" fmla="*/ 5 h 795"/>
                    <a:gd name="T26" fmla="*/ 10 w 1596"/>
                    <a:gd name="T27" fmla="*/ 6 h 795"/>
                    <a:gd name="T28" fmla="*/ 9 w 1596"/>
                    <a:gd name="T29" fmla="*/ 6 h 795"/>
                    <a:gd name="T30" fmla="*/ 7 w 1596"/>
                    <a:gd name="T31" fmla="*/ 5 h 795"/>
                    <a:gd name="T32" fmla="*/ 6 w 1596"/>
                    <a:gd name="T33" fmla="*/ 6 h 795"/>
                    <a:gd name="T34" fmla="*/ 5 w 1596"/>
                    <a:gd name="T35" fmla="*/ 5 h 795"/>
                    <a:gd name="T36" fmla="*/ 2 w 1596"/>
                    <a:gd name="T37" fmla="*/ 5 h 795"/>
                    <a:gd name="T38" fmla="*/ 1 w 1596"/>
                    <a:gd name="T39" fmla="*/ 6 h 795"/>
                    <a:gd name="T40" fmla="*/ 1 w 1596"/>
                    <a:gd name="T41" fmla="*/ 7 h 795"/>
                    <a:gd name="T42" fmla="*/ 0 w 1596"/>
                    <a:gd name="T43" fmla="*/ 7 h 795"/>
                    <a:gd name="T44" fmla="*/ 0 w 1596"/>
                    <a:gd name="T45" fmla="*/ 9 h 795"/>
                    <a:gd name="T46" fmla="*/ 1 w 1596"/>
                    <a:gd name="T47" fmla="*/ 10 h 795"/>
                    <a:gd name="T48" fmla="*/ 2 w 1596"/>
                    <a:gd name="T49" fmla="*/ 10 h 795"/>
                    <a:gd name="T50" fmla="*/ 3 w 1596"/>
                    <a:gd name="T51" fmla="*/ 12 h 795"/>
                    <a:gd name="T52" fmla="*/ 7 w 1596"/>
                    <a:gd name="T53" fmla="*/ 11 h 795"/>
                    <a:gd name="T54" fmla="*/ 6 w 1596"/>
                    <a:gd name="T55" fmla="*/ 13 h 795"/>
                    <a:gd name="T56" fmla="*/ 4 w 1596"/>
                    <a:gd name="T57" fmla="*/ 15 h 795"/>
                    <a:gd name="T58" fmla="*/ 7 w 1596"/>
                    <a:gd name="T59" fmla="*/ 17 h 795"/>
                    <a:gd name="T60" fmla="*/ 8 w 1596"/>
                    <a:gd name="T61" fmla="*/ 17 h 795"/>
                    <a:gd name="T62" fmla="*/ 9 w 1596"/>
                    <a:gd name="T63" fmla="*/ 17 h 795"/>
                    <a:gd name="T64" fmla="*/ 9 w 1596"/>
                    <a:gd name="T65" fmla="*/ 13 h 795"/>
                    <a:gd name="T66" fmla="*/ 11 w 1596"/>
                    <a:gd name="T67" fmla="*/ 12 h 795"/>
                    <a:gd name="T68" fmla="*/ 11 w 1596"/>
                    <a:gd name="T69" fmla="*/ 11 h 795"/>
                    <a:gd name="T70" fmla="*/ 12 w 1596"/>
                    <a:gd name="T71" fmla="*/ 11 h 795"/>
                    <a:gd name="T72" fmla="*/ 13 w 1596"/>
                    <a:gd name="T73" fmla="*/ 12 h 795"/>
                    <a:gd name="T74" fmla="*/ 13 w 1596"/>
                    <a:gd name="T75" fmla="*/ 13 h 795"/>
                    <a:gd name="T76" fmla="*/ 14 w 1596"/>
                    <a:gd name="T77" fmla="*/ 15 h 795"/>
                    <a:gd name="T78" fmla="*/ 17 w 1596"/>
                    <a:gd name="T79" fmla="*/ 15 h 795"/>
                    <a:gd name="T80" fmla="*/ 17 w 1596"/>
                    <a:gd name="T81" fmla="*/ 17 h 795"/>
                    <a:gd name="T82" fmla="*/ 18 w 1596"/>
                    <a:gd name="T83" fmla="*/ 19 h 795"/>
                    <a:gd name="T84" fmla="*/ 21 w 1596"/>
                    <a:gd name="T85" fmla="*/ 18 h 795"/>
                    <a:gd name="T86" fmla="*/ 23 w 1596"/>
                    <a:gd name="T87" fmla="*/ 18 h 795"/>
                    <a:gd name="T88" fmla="*/ 23 w 1596"/>
                    <a:gd name="T89" fmla="*/ 17 h 795"/>
                    <a:gd name="T90" fmla="*/ 23 w 1596"/>
                    <a:gd name="T91" fmla="*/ 16 h 795"/>
                    <a:gd name="T92" fmla="*/ 25 w 1596"/>
                    <a:gd name="T93" fmla="*/ 17 h 795"/>
                    <a:gd name="T94" fmla="*/ 27 w 1596"/>
                    <a:gd name="T95" fmla="*/ 16 h 795"/>
                    <a:gd name="T96" fmla="*/ 31 w 1596"/>
                    <a:gd name="T97" fmla="*/ 17 h 795"/>
                    <a:gd name="T98" fmla="*/ 31 w 1596"/>
                    <a:gd name="T99" fmla="*/ 14 h 795"/>
                    <a:gd name="T100" fmla="*/ 34 w 1596"/>
                    <a:gd name="T101" fmla="*/ 11 h 795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596"/>
                    <a:gd name="T154" fmla="*/ 0 h 795"/>
                    <a:gd name="T155" fmla="*/ 1596 w 1596"/>
                    <a:gd name="T156" fmla="*/ 795 h 795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596" h="795">
                      <a:moveTo>
                        <a:pt x="1561" y="408"/>
                      </a:moveTo>
                      <a:lnTo>
                        <a:pt x="1596" y="391"/>
                      </a:lnTo>
                      <a:lnTo>
                        <a:pt x="1516" y="328"/>
                      </a:lnTo>
                      <a:lnTo>
                        <a:pt x="1467" y="354"/>
                      </a:lnTo>
                      <a:lnTo>
                        <a:pt x="1395" y="331"/>
                      </a:lnTo>
                      <a:lnTo>
                        <a:pt x="1358" y="311"/>
                      </a:lnTo>
                      <a:lnTo>
                        <a:pt x="1327" y="311"/>
                      </a:lnTo>
                      <a:lnTo>
                        <a:pt x="1310" y="272"/>
                      </a:lnTo>
                      <a:lnTo>
                        <a:pt x="1297" y="246"/>
                      </a:lnTo>
                      <a:lnTo>
                        <a:pt x="1273" y="246"/>
                      </a:lnTo>
                      <a:lnTo>
                        <a:pt x="1247" y="246"/>
                      </a:lnTo>
                      <a:lnTo>
                        <a:pt x="1226" y="257"/>
                      </a:lnTo>
                      <a:lnTo>
                        <a:pt x="1186" y="212"/>
                      </a:lnTo>
                      <a:lnTo>
                        <a:pt x="1171" y="220"/>
                      </a:lnTo>
                      <a:lnTo>
                        <a:pt x="1150" y="230"/>
                      </a:lnTo>
                      <a:lnTo>
                        <a:pt x="1133" y="239"/>
                      </a:lnTo>
                      <a:lnTo>
                        <a:pt x="1098" y="207"/>
                      </a:lnTo>
                      <a:lnTo>
                        <a:pt x="1017" y="134"/>
                      </a:lnTo>
                      <a:lnTo>
                        <a:pt x="958" y="89"/>
                      </a:lnTo>
                      <a:lnTo>
                        <a:pt x="919" y="50"/>
                      </a:lnTo>
                      <a:lnTo>
                        <a:pt x="852" y="97"/>
                      </a:lnTo>
                      <a:lnTo>
                        <a:pt x="841" y="62"/>
                      </a:lnTo>
                      <a:lnTo>
                        <a:pt x="750" y="58"/>
                      </a:lnTo>
                      <a:lnTo>
                        <a:pt x="739" y="58"/>
                      </a:lnTo>
                      <a:lnTo>
                        <a:pt x="696" y="0"/>
                      </a:lnTo>
                      <a:lnTo>
                        <a:pt x="654" y="8"/>
                      </a:lnTo>
                      <a:lnTo>
                        <a:pt x="623" y="31"/>
                      </a:lnTo>
                      <a:lnTo>
                        <a:pt x="566" y="44"/>
                      </a:lnTo>
                      <a:lnTo>
                        <a:pt x="546" y="32"/>
                      </a:lnTo>
                      <a:lnTo>
                        <a:pt x="516" y="67"/>
                      </a:lnTo>
                      <a:lnTo>
                        <a:pt x="492" y="62"/>
                      </a:lnTo>
                      <a:lnTo>
                        <a:pt x="409" y="70"/>
                      </a:lnTo>
                      <a:lnTo>
                        <a:pt x="395" y="67"/>
                      </a:lnTo>
                      <a:lnTo>
                        <a:pt x="384" y="75"/>
                      </a:lnTo>
                      <a:lnTo>
                        <a:pt x="417" y="119"/>
                      </a:lnTo>
                      <a:lnTo>
                        <a:pt x="395" y="159"/>
                      </a:lnTo>
                      <a:lnTo>
                        <a:pt x="396" y="189"/>
                      </a:lnTo>
                      <a:lnTo>
                        <a:pt x="396" y="204"/>
                      </a:lnTo>
                      <a:lnTo>
                        <a:pt x="441" y="204"/>
                      </a:lnTo>
                      <a:lnTo>
                        <a:pt x="454" y="230"/>
                      </a:lnTo>
                      <a:lnTo>
                        <a:pt x="454" y="257"/>
                      </a:lnTo>
                      <a:lnTo>
                        <a:pt x="441" y="263"/>
                      </a:lnTo>
                      <a:lnTo>
                        <a:pt x="425" y="246"/>
                      </a:lnTo>
                      <a:lnTo>
                        <a:pt x="405" y="257"/>
                      </a:lnTo>
                      <a:lnTo>
                        <a:pt x="395" y="269"/>
                      </a:lnTo>
                      <a:lnTo>
                        <a:pt x="361" y="246"/>
                      </a:lnTo>
                      <a:lnTo>
                        <a:pt x="351" y="224"/>
                      </a:lnTo>
                      <a:lnTo>
                        <a:pt x="322" y="235"/>
                      </a:lnTo>
                      <a:lnTo>
                        <a:pt x="322" y="243"/>
                      </a:lnTo>
                      <a:lnTo>
                        <a:pt x="302" y="224"/>
                      </a:lnTo>
                      <a:lnTo>
                        <a:pt x="273" y="246"/>
                      </a:lnTo>
                      <a:lnTo>
                        <a:pt x="240" y="257"/>
                      </a:lnTo>
                      <a:lnTo>
                        <a:pt x="229" y="246"/>
                      </a:lnTo>
                      <a:lnTo>
                        <a:pt x="221" y="224"/>
                      </a:lnTo>
                      <a:lnTo>
                        <a:pt x="176" y="220"/>
                      </a:lnTo>
                      <a:lnTo>
                        <a:pt x="103" y="216"/>
                      </a:lnTo>
                      <a:lnTo>
                        <a:pt x="85" y="220"/>
                      </a:lnTo>
                      <a:lnTo>
                        <a:pt x="81" y="235"/>
                      </a:lnTo>
                      <a:lnTo>
                        <a:pt x="69" y="230"/>
                      </a:lnTo>
                      <a:lnTo>
                        <a:pt x="54" y="254"/>
                      </a:lnTo>
                      <a:lnTo>
                        <a:pt x="43" y="272"/>
                      </a:lnTo>
                      <a:lnTo>
                        <a:pt x="43" y="281"/>
                      </a:lnTo>
                      <a:lnTo>
                        <a:pt x="51" y="299"/>
                      </a:lnTo>
                      <a:lnTo>
                        <a:pt x="39" y="304"/>
                      </a:lnTo>
                      <a:lnTo>
                        <a:pt x="28" y="272"/>
                      </a:lnTo>
                      <a:lnTo>
                        <a:pt x="7" y="276"/>
                      </a:lnTo>
                      <a:lnTo>
                        <a:pt x="0" y="318"/>
                      </a:lnTo>
                      <a:lnTo>
                        <a:pt x="0" y="343"/>
                      </a:lnTo>
                      <a:lnTo>
                        <a:pt x="0" y="366"/>
                      </a:lnTo>
                      <a:lnTo>
                        <a:pt x="11" y="387"/>
                      </a:lnTo>
                      <a:lnTo>
                        <a:pt x="20" y="399"/>
                      </a:lnTo>
                      <a:lnTo>
                        <a:pt x="20" y="424"/>
                      </a:lnTo>
                      <a:lnTo>
                        <a:pt x="39" y="422"/>
                      </a:lnTo>
                      <a:lnTo>
                        <a:pt x="62" y="403"/>
                      </a:lnTo>
                      <a:lnTo>
                        <a:pt x="74" y="422"/>
                      </a:lnTo>
                      <a:lnTo>
                        <a:pt x="91" y="445"/>
                      </a:lnTo>
                      <a:lnTo>
                        <a:pt x="103" y="468"/>
                      </a:lnTo>
                      <a:lnTo>
                        <a:pt x="121" y="512"/>
                      </a:lnTo>
                      <a:lnTo>
                        <a:pt x="157" y="501"/>
                      </a:lnTo>
                      <a:lnTo>
                        <a:pt x="209" y="489"/>
                      </a:lnTo>
                      <a:lnTo>
                        <a:pt x="291" y="477"/>
                      </a:lnTo>
                      <a:lnTo>
                        <a:pt x="312" y="506"/>
                      </a:lnTo>
                      <a:lnTo>
                        <a:pt x="316" y="562"/>
                      </a:lnTo>
                      <a:lnTo>
                        <a:pt x="273" y="573"/>
                      </a:lnTo>
                      <a:lnTo>
                        <a:pt x="240" y="581"/>
                      </a:lnTo>
                      <a:lnTo>
                        <a:pt x="248" y="621"/>
                      </a:lnTo>
                      <a:lnTo>
                        <a:pt x="191" y="621"/>
                      </a:lnTo>
                      <a:lnTo>
                        <a:pt x="240" y="699"/>
                      </a:lnTo>
                      <a:lnTo>
                        <a:pt x="262" y="706"/>
                      </a:lnTo>
                      <a:lnTo>
                        <a:pt x="284" y="710"/>
                      </a:lnTo>
                      <a:lnTo>
                        <a:pt x="298" y="744"/>
                      </a:lnTo>
                      <a:lnTo>
                        <a:pt x="311" y="731"/>
                      </a:lnTo>
                      <a:lnTo>
                        <a:pt x="352" y="723"/>
                      </a:lnTo>
                      <a:lnTo>
                        <a:pt x="378" y="736"/>
                      </a:lnTo>
                      <a:lnTo>
                        <a:pt x="395" y="753"/>
                      </a:lnTo>
                      <a:lnTo>
                        <a:pt x="406" y="736"/>
                      </a:lnTo>
                      <a:lnTo>
                        <a:pt x="435" y="741"/>
                      </a:lnTo>
                      <a:lnTo>
                        <a:pt x="386" y="565"/>
                      </a:lnTo>
                      <a:lnTo>
                        <a:pt x="405" y="556"/>
                      </a:lnTo>
                      <a:lnTo>
                        <a:pt x="469" y="518"/>
                      </a:lnTo>
                      <a:lnTo>
                        <a:pt x="480" y="515"/>
                      </a:lnTo>
                      <a:lnTo>
                        <a:pt x="471" y="501"/>
                      </a:lnTo>
                      <a:lnTo>
                        <a:pt x="484" y="508"/>
                      </a:lnTo>
                      <a:lnTo>
                        <a:pt x="484" y="489"/>
                      </a:lnTo>
                      <a:lnTo>
                        <a:pt x="492" y="477"/>
                      </a:lnTo>
                      <a:lnTo>
                        <a:pt x="498" y="483"/>
                      </a:lnTo>
                      <a:lnTo>
                        <a:pt x="513" y="483"/>
                      </a:lnTo>
                      <a:lnTo>
                        <a:pt x="527" y="493"/>
                      </a:lnTo>
                      <a:lnTo>
                        <a:pt x="544" y="470"/>
                      </a:lnTo>
                      <a:lnTo>
                        <a:pt x="558" y="477"/>
                      </a:lnTo>
                      <a:lnTo>
                        <a:pt x="544" y="508"/>
                      </a:lnTo>
                      <a:lnTo>
                        <a:pt x="554" y="550"/>
                      </a:lnTo>
                      <a:lnTo>
                        <a:pt x="584" y="575"/>
                      </a:lnTo>
                      <a:lnTo>
                        <a:pt x="584" y="581"/>
                      </a:lnTo>
                      <a:lnTo>
                        <a:pt x="575" y="602"/>
                      </a:lnTo>
                      <a:lnTo>
                        <a:pt x="577" y="611"/>
                      </a:lnTo>
                      <a:lnTo>
                        <a:pt x="621" y="629"/>
                      </a:lnTo>
                      <a:lnTo>
                        <a:pt x="632" y="656"/>
                      </a:lnTo>
                      <a:lnTo>
                        <a:pt x="671" y="639"/>
                      </a:lnTo>
                      <a:lnTo>
                        <a:pt x="717" y="629"/>
                      </a:lnTo>
                      <a:lnTo>
                        <a:pt x="750" y="708"/>
                      </a:lnTo>
                      <a:lnTo>
                        <a:pt x="763" y="745"/>
                      </a:lnTo>
                      <a:lnTo>
                        <a:pt x="751" y="754"/>
                      </a:lnTo>
                      <a:lnTo>
                        <a:pt x="746" y="768"/>
                      </a:lnTo>
                      <a:lnTo>
                        <a:pt x="779" y="779"/>
                      </a:lnTo>
                      <a:lnTo>
                        <a:pt x="789" y="795"/>
                      </a:lnTo>
                      <a:lnTo>
                        <a:pt x="835" y="779"/>
                      </a:lnTo>
                      <a:lnTo>
                        <a:pt x="848" y="795"/>
                      </a:lnTo>
                      <a:lnTo>
                        <a:pt x="882" y="776"/>
                      </a:lnTo>
                      <a:lnTo>
                        <a:pt x="904" y="771"/>
                      </a:lnTo>
                      <a:lnTo>
                        <a:pt x="930" y="777"/>
                      </a:lnTo>
                      <a:lnTo>
                        <a:pt x="989" y="777"/>
                      </a:lnTo>
                      <a:lnTo>
                        <a:pt x="977" y="764"/>
                      </a:lnTo>
                      <a:lnTo>
                        <a:pt x="977" y="741"/>
                      </a:lnTo>
                      <a:lnTo>
                        <a:pt x="984" y="726"/>
                      </a:lnTo>
                      <a:lnTo>
                        <a:pt x="984" y="714"/>
                      </a:lnTo>
                      <a:lnTo>
                        <a:pt x="967" y="702"/>
                      </a:lnTo>
                      <a:lnTo>
                        <a:pt x="1004" y="698"/>
                      </a:lnTo>
                      <a:lnTo>
                        <a:pt x="1039" y="702"/>
                      </a:lnTo>
                      <a:lnTo>
                        <a:pt x="1047" y="714"/>
                      </a:lnTo>
                      <a:lnTo>
                        <a:pt x="1071" y="708"/>
                      </a:lnTo>
                      <a:lnTo>
                        <a:pt x="1055" y="673"/>
                      </a:lnTo>
                      <a:lnTo>
                        <a:pt x="1073" y="669"/>
                      </a:lnTo>
                      <a:lnTo>
                        <a:pt x="1166" y="683"/>
                      </a:lnTo>
                      <a:lnTo>
                        <a:pt x="1241" y="691"/>
                      </a:lnTo>
                      <a:lnTo>
                        <a:pt x="1297" y="719"/>
                      </a:lnTo>
                      <a:lnTo>
                        <a:pt x="1327" y="719"/>
                      </a:lnTo>
                      <a:lnTo>
                        <a:pt x="1336" y="753"/>
                      </a:lnTo>
                      <a:lnTo>
                        <a:pt x="1358" y="683"/>
                      </a:lnTo>
                      <a:lnTo>
                        <a:pt x="1327" y="607"/>
                      </a:lnTo>
                      <a:lnTo>
                        <a:pt x="1422" y="581"/>
                      </a:lnTo>
                      <a:lnTo>
                        <a:pt x="1436" y="539"/>
                      </a:lnTo>
                      <a:lnTo>
                        <a:pt x="1448" y="477"/>
                      </a:lnTo>
                      <a:lnTo>
                        <a:pt x="1545" y="483"/>
                      </a:lnTo>
                      <a:lnTo>
                        <a:pt x="1561" y="408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49" name="Freeform 492"/>
                <p:cNvSpPr/>
                <p:nvPr/>
              </p:nvSpPr>
              <p:spPr bwMode="auto">
                <a:xfrm>
                  <a:off x="2261278" y="2937326"/>
                  <a:ext cx="336945" cy="224356"/>
                </a:xfrm>
                <a:custGeom>
                  <a:avLst/>
                  <a:gdLst>
                    <a:gd name="T0" fmla="*/ 1 w 697"/>
                    <a:gd name="T1" fmla="*/ 5 h 492"/>
                    <a:gd name="T2" fmla="*/ 2 w 697"/>
                    <a:gd name="T3" fmla="*/ 4 h 492"/>
                    <a:gd name="T4" fmla="*/ 2 w 697"/>
                    <a:gd name="T5" fmla="*/ 4 h 492"/>
                    <a:gd name="T6" fmla="*/ 3 w 697"/>
                    <a:gd name="T7" fmla="*/ 4 h 492"/>
                    <a:gd name="T8" fmla="*/ 4 w 697"/>
                    <a:gd name="T9" fmla="*/ 4 h 492"/>
                    <a:gd name="T10" fmla="*/ 4 w 697"/>
                    <a:gd name="T11" fmla="*/ 5 h 492"/>
                    <a:gd name="T12" fmla="*/ 4 w 697"/>
                    <a:gd name="T13" fmla="*/ 5 h 492"/>
                    <a:gd name="T14" fmla="*/ 5 w 697"/>
                    <a:gd name="T15" fmla="*/ 7 h 492"/>
                    <a:gd name="T16" fmla="*/ 5 w 697"/>
                    <a:gd name="T17" fmla="*/ 6 h 492"/>
                    <a:gd name="T18" fmla="*/ 6 w 697"/>
                    <a:gd name="T19" fmla="*/ 7 h 492"/>
                    <a:gd name="T20" fmla="*/ 8 w 697"/>
                    <a:gd name="T21" fmla="*/ 8 h 492"/>
                    <a:gd name="T22" fmla="*/ 9 w 697"/>
                    <a:gd name="T23" fmla="*/ 9 h 492"/>
                    <a:gd name="T24" fmla="*/ 10 w 697"/>
                    <a:gd name="T25" fmla="*/ 10 h 492"/>
                    <a:gd name="T26" fmla="*/ 11 w 697"/>
                    <a:gd name="T27" fmla="*/ 11 h 492"/>
                    <a:gd name="T28" fmla="*/ 12 w 697"/>
                    <a:gd name="T29" fmla="*/ 10 h 492"/>
                    <a:gd name="T30" fmla="*/ 12 w 697"/>
                    <a:gd name="T31" fmla="*/ 9 h 492"/>
                    <a:gd name="T32" fmla="*/ 11 w 697"/>
                    <a:gd name="T33" fmla="*/ 7 h 492"/>
                    <a:gd name="T34" fmla="*/ 12 w 697"/>
                    <a:gd name="T35" fmla="*/ 7 h 492"/>
                    <a:gd name="T36" fmla="*/ 14 w 697"/>
                    <a:gd name="T37" fmla="*/ 7 h 492"/>
                    <a:gd name="T38" fmla="*/ 16 w 697"/>
                    <a:gd name="T39" fmla="*/ 7 h 492"/>
                    <a:gd name="T40" fmla="*/ 16 w 697"/>
                    <a:gd name="T41" fmla="*/ 6 h 492"/>
                    <a:gd name="T42" fmla="*/ 13 w 697"/>
                    <a:gd name="T43" fmla="*/ 6 h 492"/>
                    <a:gd name="T44" fmla="*/ 12 w 697"/>
                    <a:gd name="T45" fmla="*/ 6 h 492"/>
                    <a:gd name="T46" fmla="*/ 11 w 697"/>
                    <a:gd name="T47" fmla="*/ 7 h 492"/>
                    <a:gd name="T48" fmla="*/ 10 w 697"/>
                    <a:gd name="T49" fmla="*/ 6 h 492"/>
                    <a:gd name="T50" fmla="*/ 9 w 697"/>
                    <a:gd name="T51" fmla="*/ 7 h 492"/>
                    <a:gd name="T52" fmla="*/ 9 w 697"/>
                    <a:gd name="T53" fmla="*/ 6 h 492"/>
                    <a:gd name="T54" fmla="*/ 9 w 697"/>
                    <a:gd name="T55" fmla="*/ 5 h 492"/>
                    <a:gd name="T56" fmla="*/ 9 w 697"/>
                    <a:gd name="T57" fmla="*/ 4 h 492"/>
                    <a:gd name="T58" fmla="*/ 6 w 697"/>
                    <a:gd name="T59" fmla="*/ 3 h 492"/>
                    <a:gd name="T60" fmla="*/ 5 w 697"/>
                    <a:gd name="T61" fmla="*/ 2 h 492"/>
                    <a:gd name="T62" fmla="*/ 3 w 697"/>
                    <a:gd name="T63" fmla="*/ 3 h 492"/>
                    <a:gd name="T64" fmla="*/ 2 w 697"/>
                    <a:gd name="T65" fmla="*/ 1 h 492"/>
                    <a:gd name="T66" fmla="*/ 2 w 697"/>
                    <a:gd name="T67" fmla="*/ 0 h 492"/>
                    <a:gd name="T68" fmla="*/ 1 w 697"/>
                    <a:gd name="T69" fmla="*/ 5 h 492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697"/>
                    <a:gd name="T106" fmla="*/ 0 h 492"/>
                    <a:gd name="T107" fmla="*/ 697 w 697"/>
                    <a:gd name="T108" fmla="*/ 492 h 492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697" h="492">
                      <a:moveTo>
                        <a:pt x="49" y="226"/>
                      </a:moveTo>
                      <a:lnTo>
                        <a:pt x="65" y="221"/>
                      </a:lnTo>
                      <a:lnTo>
                        <a:pt x="72" y="202"/>
                      </a:lnTo>
                      <a:lnTo>
                        <a:pt x="81" y="184"/>
                      </a:lnTo>
                      <a:lnTo>
                        <a:pt x="98" y="193"/>
                      </a:lnTo>
                      <a:lnTo>
                        <a:pt x="94" y="168"/>
                      </a:lnTo>
                      <a:lnTo>
                        <a:pt x="112" y="158"/>
                      </a:lnTo>
                      <a:lnTo>
                        <a:pt x="124" y="176"/>
                      </a:lnTo>
                      <a:lnTo>
                        <a:pt x="141" y="176"/>
                      </a:lnTo>
                      <a:lnTo>
                        <a:pt x="158" y="187"/>
                      </a:lnTo>
                      <a:lnTo>
                        <a:pt x="168" y="193"/>
                      </a:lnTo>
                      <a:lnTo>
                        <a:pt x="168" y="199"/>
                      </a:lnTo>
                      <a:lnTo>
                        <a:pt x="169" y="214"/>
                      </a:lnTo>
                      <a:lnTo>
                        <a:pt x="189" y="221"/>
                      </a:lnTo>
                      <a:lnTo>
                        <a:pt x="189" y="244"/>
                      </a:lnTo>
                      <a:lnTo>
                        <a:pt x="205" y="276"/>
                      </a:lnTo>
                      <a:lnTo>
                        <a:pt x="225" y="280"/>
                      </a:lnTo>
                      <a:lnTo>
                        <a:pt x="230" y="272"/>
                      </a:lnTo>
                      <a:lnTo>
                        <a:pt x="251" y="258"/>
                      </a:lnTo>
                      <a:lnTo>
                        <a:pt x="270" y="276"/>
                      </a:lnTo>
                      <a:lnTo>
                        <a:pt x="290" y="306"/>
                      </a:lnTo>
                      <a:lnTo>
                        <a:pt x="325" y="344"/>
                      </a:lnTo>
                      <a:lnTo>
                        <a:pt x="383" y="360"/>
                      </a:lnTo>
                      <a:lnTo>
                        <a:pt x="386" y="384"/>
                      </a:lnTo>
                      <a:lnTo>
                        <a:pt x="423" y="400"/>
                      </a:lnTo>
                      <a:lnTo>
                        <a:pt x="440" y="425"/>
                      </a:lnTo>
                      <a:lnTo>
                        <a:pt x="427" y="491"/>
                      </a:lnTo>
                      <a:lnTo>
                        <a:pt x="459" y="492"/>
                      </a:lnTo>
                      <a:lnTo>
                        <a:pt x="485" y="457"/>
                      </a:lnTo>
                      <a:lnTo>
                        <a:pt x="498" y="440"/>
                      </a:lnTo>
                      <a:lnTo>
                        <a:pt x="507" y="421"/>
                      </a:lnTo>
                      <a:lnTo>
                        <a:pt x="501" y="387"/>
                      </a:lnTo>
                      <a:lnTo>
                        <a:pt x="473" y="373"/>
                      </a:lnTo>
                      <a:lnTo>
                        <a:pt x="481" y="314"/>
                      </a:lnTo>
                      <a:lnTo>
                        <a:pt x="505" y="290"/>
                      </a:lnTo>
                      <a:lnTo>
                        <a:pt x="527" y="298"/>
                      </a:lnTo>
                      <a:lnTo>
                        <a:pt x="579" y="287"/>
                      </a:lnTo>
                      <a:lnTo>
                        <a:pt x="586" y="311"/>
                      </a:lnTo>
                      <a:lnTo>
                        <a:pt x="614" y="310"/>
                      </a:lnTo>
                      <a:lnTo>
                        <a:pt x="680" y="306"/>
                      </a:lnTo>
                      <a:lnTo>
                        <a:pt x="697" y="276"/>
                      </a:lnTo>
                      <a:lnTo>
                        <a:pt x="680" y="261"/>
                      </a:lnTo>
                      <a:lnTo>
                        <a:pt x="637" y="261"/>
                      </a:lnTo>
                      <a:lnTo>
                        <a:pt x="566" y="261"/>
                      </a:lnTo>
                      <a:lnTo>
                        <a:pt x="538" y="261"/>
                      </a:lnTo>
                      <a:lnTo>
                        <a:pt x="510" y="256"/>
                      </a:lnTo>
                      <a:lnTo>
                        <a:pt x="462" y="280"/>
                      </a:lnTo>
                      <a:lnTo>
                        <a:pt x="457" y="276"/>
                      </a:lnTo>
                      <a:lnTo>
                        <a:pt x="449" y="264"/>
                      </a:lnTo>
                      <a:lnTo>
                        <a:pt x="426" y="272"/>
                      </a:lnTo>
                      <a:lnTo>
                        <a:pt x="403" y="280"/>
                      </a:lnTo>
                      <a:lnTo>
                        <a:pt x="398" y="275"/>
                      </a:lnTo>
                      <a:lnTo>
                        <a:pt x="394" y="264"/>
                      </a:lnTo>
                      <a:lnTo>
                        <a:pt x="365" y="256"/>
                      </a:lnTo>
                      <a:lnTo>
                        <a:pt x="360" y="253"/>
                      </a:lnTo>
                      <a:lnTo>
                        <a:pt x="364" y="239"/>
                      </a:lnTo>
                      <a:lnTo>
                        <a:pt x="378" y="230"/>
                      </a:lnTo>
                      <a:lnTo>
                        <a:pt x="360" y="183"/>
                      </a:lnTo>
                      <a:lnTo>
                        <a:pt x="331" y="114"/>
                      </a:lnTo>
                      <a:lnTo>
                        <a:pt x="247" y="137"/>
                      </a:lnTo>
                      <a:lnTo>
                        <a:pt x="230" y="114"/>
                      </a:lnTo>
                      <a:lnTo>
                        <a:pt x="191" y="96"/>
                      </a:lnTo>
                      <a:lnTo>
                        <a:pt x="158" y="123"/>
                      </a:lnTo>
                      <a:lnTo>
                        <a:pt x="126" y="116"/>
                      </a:lnTo>
                      <a:lnTo>
                        <a:pt x="89" y="87"/>
                      </a:lnTo>
                      <a:lnTo>
                        <a:pt x="83" y="51"/>
                      </a:lnTo>
                      <a:lnTo>
                        <a:pt x="85" y="26"/>
                      </a:lnTo>
                      <a:lnTo>
                        <a:pt x="83" y="0"/>
                      </a:lnTo>
                      <a:lnTo>
                        <a:pt x="0" y="51"/>
                      </a:lnTo>
                      <a:lnTo>
                        <a:pt x="49" y="22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0" name="Freeform 493"/>
                <p:cNvSpPr/>
                <p:nvPr/>
              </p:nvSpPr>
              <p:spPr bwMode="auto">
                <a:xfrm>
                  <a:off x="2219160" y="3010521"/>
                  <a:ext cx="256078" cy="195715"/>
                </a:xfrm>
                <a:custGeom>
                  <a:avLst/>
                  <a:gdLst>
                    <a:gd name="T0" fmla="*/ 0 w 534"/>
                    <a:gd name="T1" fmla="*/ 1 h 433"/>
                    <a:gd name="T2" fmla="*/ 0 w 534"/>
                    <a:gd name="T3" fmla="*/ 3 h 433"/>
                    <a:gd name="T4" fmla="*/ 1 w 534"/>
                    <a:gd name="T5" fmla="*/ 2 h 433"/>
                    <a:gd name="T6" fmla="*/ 2 w 534"/>
                    <a:gd name="T7" fmla="*/ 3 h 433"/>
                    <a:gd name="T8" fmla="*/ 1 w 534"/>
                    <a:gd name="T9" fmla="*/ 3 h 433"/>
                    <a:gd name="T10" fmla="*/ 0 w 534"/>
                    <a:gd name="T11" fmla="*/ 3 h 433"/>
                    <a:gd name="T12" fmla="*/ 0 w 534"/>
                    <a:gd name="T13" fmla="*/ 4 h 433"/>
                    <a:gd name="T14" fmla="*/ 0 w 534"/>
                    <a:gd name="T15" fmla="*/ 4 h 433"/>
                    <a:gd name="T16" fmla="*/ 1 w 534"/>
                    <a:gd name="T17" fmla="*/ 5 h 433"/>
                    <a:gd name="T18" fmla="*/ 1 w 534"/>
                    <a:gd name="T19" fmla="*/ 5 h 433"/>
                    <a:gd name="T20" fmla="*/ 1 w 534"/>
                    <a:gd name="T21" fmla="*/ 5 h 433"/>
                    <a:gd name="T22" fmla="*/ 1 w 534"/>
                    <a:gd name="T23" fmla="*/ 7 h 433"/>
                    <a:gd name="T24" fmla="*/ 3 w 534"/>
                    <a:gd name="T25" fmla="*/ 7 h 433"/>
                    <a:gd name="T26" fmla="*/ 4 w 534"/>
                    <a:gd name="T27" fmla="*/ 6 h 433"/>
                    <a:gd name="T28" fmla="*/ 6 w 534"/>
                    <a:gd name="T29" fmla="*/ 7 h 433"/>
                    <a:gd name="T30" fmla="*/ 7 w 534"/>
                    <a:gd name="T31" fmla="*/ 8 h 433"/>
                    <a:gd name="T32" fmla="*/ 7 w 534"/>
                    <a:gd name="T33" fmla="*/ 9 h 433"/>
                    <a:gd name="T34" fmla="*/ 7 w 534"/>
                    <a:gd name="T35" fmla="*/ 9 h 433"/>
                    <a:gd name="T36" fmla="*/ 9 w 534"/>
                    <a:gd name="T37" fmla="*/ 10 h 433"/>
                    <a:gd name="T38" fmla="*/ 11 w 534"/>
                    <a:gd name="T39" fmla="*/ 7 h 433"/>
                    <a:gd name="T40" fmla="*/ 12 w 534"/>
                    <a:gd name="T41" fmla="*/ 7 h 433"/>
                    <a:gd name="T42" fmla="*/ 12 w 534"/>
                    <a:gd name="T43" fmla="*/ 7 h 433"/>
                    <a:gd name="T44" fmla="*/ 12 w 534"/>
                    <a:gd name="T45" fmla="*/ 6 h 433"/>
                    <a:gd name="T46" fmla="*/ 12 w 534"/>
                    <a:gd name="T47" fmla="*/ 5 h 433"/>
                    <a:gd name="T48" fmla="*/ 11 w 534"/>
                    <a:gd name="T49" fmla="*/ 5 h 433"/>
                    <a:gd name="T50" fmla="*/ 11 w 534"/>
                    <a:gd name="T51" fmla="*/ 5 h 433"/>
                    <a:gd name="T52" fmla="*/ 10 w 534"/>
                    <a:gd name="T53" fmla="*/ 4 h 433"/>
                    <a:gd name="T54" fmla="*/ 9 w 534"/>
                    <a:gd name="T55" fmla="*/ 3 h 433"/>
                    <a:gd name="T56" fmla="*/ 9 w 534"/>
                    <a:gd name="T57" fmla="*/ 3 h 433"/>
                    <a:gd name="T58" fmla="*/ 8 w 534"/>
                    <a:gd name="T59" fmla="*/ 2 h 433"/>
                    <a:gd name="T60" fmla="*/ 7 w 534"/>
                    <a:gd name="T61" fmla="*/ 3 h 433"/>
                    <a:gd name="T62" fmla="*/ 7 w 534"/>
                    <a:gd name="T63" fmla="*/ 3 h 433"/>
                    <a:gd name="T64" fmla="*/ 7 w 534"/>
                    <a:gd name="T65" fmla="*/ 3 h 433"/>
                    <a:gd name="T66" fmla="*/ 7 w 534"/>
                    <a:gd name="T67" fmla="*/ 2 h 433"/>
                    <a:gd name="T68" fmla="*/ 7 w 534"/>
                    <a:gd name="T69" fmla="*/ 1 h 433"/>
                    <a:gd name="T70" fmla="*/ 6 w 534"/>
                    <a:gd name="T71" fmla="*/ 1 h 433"/>
                    <a:gd name="T72" fmla="*/ 6 w 534"/>
                    <a:gd name="T73" fmla="*/ 1 h 433"/>
                    <a:gd name="T74" fmla="*/ 5 w 534"/>
                    <a:gd name="T75" fmla="*/ 0 h 433"/>
                    <a:gd name="T76" fmla="*/ 5 w 534"/>
                    <a:gd name="T77" fmla="*/ 0 h 433"/>
                    <a:gd name="T78" fmla="*/ 5 w 534"/>
                    <a:gd name="T79" fmla="*/ 0 h 433"/>
                    <a:gd name="T80" fmla="*/ 4 w 534"/>
                    <a:gd name="T81" fmla="*/ 0 h 433"/>
                    <a:gd name="T82" fmla="*/ 5 w 534"/>
                    <a:gd name="T83" fmla="*/ 1 h 433"/>
                    <a:gd name="T84" fmla="*/ 4 w 534"/>
                    <a:gd name="T85" fmla="*/ 1 h 433"/>
                    <a:gd name="T86" fmla="*/ 4 w 534"/>
                    <a:gd name="T87" fmla="*/ 1 h 433"/>
                    <a:gd name="T88" fmla="*/ 4 w 534"/>
                    <a:gd name="T89" fmla="*/ 1 h 433"/>
                    <a:gd name="T90" fmla="*/ 3 w 534"/>
                    <a:gd name="T91" fmla="*/ 1 h 433"/>
                    <a:gd name="T92" fmla="*/ 3 w 534"/>
                    <a:gd name="T93" fmla="*/ 1 h 433"/>
                    <a:gd name="T94" fmla="*/ 2 w 534"/>
                    <a:gd name="T95" fmla="*/ 2 h 433"/>
                    <a:gd name="T96" fmla="*/ 2 w 534"/>
                    <a:gd name="T97" fmla="*/ 1 h 433"/>
                    <a:gd name="T98" fmla="*/ 1 w 534"/>
                    <a:gd name="T99" fmla="*/ 1 h 433"/>
                    <a:gd name="T100" fmla="*/ 0 w 534"/>
                    <a:gd name="T101" fmla="*/ 1 h 433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534"/>
                    <a:gd name="T154" fmla="*/ 0 h 433"/>
                    <a:gd name="T155" fmla="*/ 534 w 534"/>
                    <a:gd name="T156" fmla="*/ 433 h 433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534" h="433">
                      <a:moveTo>
                        <a:pt x="0" y="63"/>
                      </a:moveTo>
                      <a:lnTo>
                        <a:pt x="4" y="118"/>
                      </a:lnTo>
                      <a:lnTo>
                        <a:pt x="32" y="86"/>
                      </a:lnTo>
                      <a:lnTo>
                        <a:pt x="72" y="129"/>
                      </a:lnTo>
                      <a:lnTo>
                        <a:pt x="53" y="156"/>
                      </a:lnTo>
                      <a:lnTo>
                        <a:pt x="7" y="130"/>
                      </a:lnTo>
                      <a:lnTo>
                        <a:pt x="1" y="168"/>
                      </a:lnTo>
                      <a:lnTo>
                        <a:pt x="7" y="191"/>
                      </a:lnTo>
                      <a:lnTo>
                        <a:pt x="32" y="196"/>
                      </a:lnTo>
                      <a:lnTo>
                        <a:pt x="22" y="221"/>
                      </a:lnTo>
                      <a:lnTo>
                        <a:pt x="41" y="238"/>
                      </a:lnTo>
                      <a:lnTo>
                        <a:pt x="41" y="314"/>
                      </a:lnTo>
                      <a:lnTo>
                        <a:pt x="115" y="292"/>
                      </a:lnTo>
                      <a:lnTo>
                        <a:pt x="157" y="269"/>
                      </a:lnTo>
                      <a:lnTo>
                        <a:pt x="250" y="320"/>
                      </a:lnTo>
                      <a:lnTo>
                        <a:pt x="311" y="352"/>
                      </a:lnTo>
                      <a:lnTo>
                        <a:pt x="322" y="366"/>
                      </a:lnTo>
                      <a:lnTo>
                        <a:pt x="328" y="405"/>
                      </a:lnTo>
                      <a:lnTo>
                        <a:pt x="382" y="433"/>
                      </a:lnTo>
                      <a:lnTo>
                        <a:pt x="466" y="329"/>
                      </a:lnTo>
                      <a:lnTo>
                        <a:pt x="519" y="329"/>
                      </a:lnTo>
                      <a:lnTo>
                        <a:pt x="528" y="286"/>
                      </a:lnTo>
                      <a:lnTo>
                        <a:pt x="534" y="268"/>
                      </a:lnTo>
                      <a:lnTo>
                        <a:pt x="517" y="240"/>
                      </a:lnTo>
                      <a:lnTo>
                        <a:pt x="478" y="223"/>
                      </a:lnTo>
                      <a:lnTo>
                        <a:pt x="472" y="202"/>
                      </a:lnTo>
                      <a:lnTo>
                        <a:pt x="417" y="186"/>
                      </a:lnTo>
                      <a:lnTo>
                        <a:pt x="382" y="148"/>
                      </a:lnTo>
                      <a:lnTo>
                        <a:pt x="371" y="122"/>
                      </a:lnTo>
                      <a:lnTo>
                        <a:pt x="343" y="98"/>
                      </a:lnTo>
                      <a:lnTo>
                        <a:pt x="327" y="113"/>
                      </a:lnTo>
                      <a:lnTo>
                        <a:pt x="317" y="122"/>
                      </a:lnTo>
                      <a:lnTo>
                        <a:pt x="297" y="118"/>
                      </a:lnTo>
                      <a:lnTo>
                        <a:pt x="281" y="86"/>
                      </a:lnTo>
                      <a:lnTo>
                        <a:pt x="281" y="63"/>
                      </a:lnTo>
                      <a:lnTo>
                        <a:pt x="261" y="56"/>
                      </a:lnTo>
                      <a:lnTo>
                        <a:pt x="256" y="35"/>
                      </a:lnTo>
                      <a:lnTo>
                        <a:pt x="233" y="18"/>
                      </a:lnTo>
                      <a:lnTo>
                        <a:pt x="216" y="18"/>
                      </a:lnTo>
                      <a:lnTo>
                        <a:pt x="204" y="0"/>
                      </a:lnTo>
                      <a:lnTo>
                        <a:pt x="186" y="10"/>
                      </a:lnTo>
                      <a:lnTo>
                        <a:pt x="192" y="35"/>
                      </a:lnTo>
                      <a:lnTo>
                        <a:pt x="182" y="31"/>
                      </a:lnTo>
                      <a:lnTo>
                        <a:pt x="173" y="26"/>
                      </a:lnTo>
                      <a:lnTo>
                        <a:pt x="157" y="63"/>
                      </a:lnTo>
                      <a:lnTo>
                        <a:pt x="136" y="68"/>
                      </a:lnTo>
                      <a:lnTo>
                        <a:pt x="115" y="61"/>
                      </a:lnTo>
                      <a:lnTo>
                        <a:pt x="101" y="80"/>
                      </a:lnTo>
                      <a:lnTo>
                        <a:pt x="84" y="63"/>
                      </a:lnTo>
                      <a:lnTo>
                        <a:pt x="57" y="46"/>
                      </a:lnTo>
                      <a:lnTo>
                        <a:pt x="0" y="6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1" name="Freeform 494"/>
                <p:cNvSpPr/>
                <p:nvPr/>
              </p:nvSpPr>
              <p:spPr bwMode="auto">
                <a:xfrm>
                  <a:off x="2505563" y="3008929"/>
                  <a:ext cx="213960" cy="98653"/>
                </a:xfrm>
                <a:custGeom>
                  <a:avLst/>
                  <a:gdLst>
                    <a:gd name="T0" fmla="*/ 3 w 444"/>
                    <a:gd name="T1" fmla="*/ 3 h 219"/>
                    <a:gd name="T2" fmla="*/ 2 w 444"/>
                    <a:gd name="T3" fmla="*/ 3 h 219"/>
                    <a:gd name="T4" fmla="*/ 0 w 444"/>
                    <a:gd name="T5" fmla="*/ 4 h 219"/>
                    <a:gd name="T6" fmla="*/ 0 w 444"/>
                    <a:gd name="T7" fmla="*/ 4 h 219"/>
                    <a:gd name="T8" fmla="*/ 0 w 444"/>
                    <a:gd name="T9" fmla="*/ 5 h 219"/>
                    <a:gd name="T10" fmla="*/ 1 w 444"/>
                    <a:gd name="T11" fmla="*/ 5 h 219"/>
                    <a:gd name="T12" fmla="*/ 3 w 444"/>
                    <a:gd name="T13" fmla="*/ 5 h 219"/>
                    <a:gd name="T14" fmla="*/ 4 w 444"/>
                    <a:gd name="T15" fmla="*/ 5 h 219"/>
                    <a:gd name="T16" fmla="*/ 5 w 444"/>
                    <a:gd name="T17" fmla="*/ 5 h 219"/>
                    <a:gd name="T18" fmla="*/ 5 w 444"/>
                    <a:gd name="T19" fmla="*/ 4 h 219"/>
                    <a:gd name="T20" fmla="*/ 6 w 444"/>
                    <a:gd name="T21" fmla="*/ 4 h 219"/>
                    <a:gd name="T22" fmla="*/ 7 w 444"/>
                    <a:gd name="T23" fmla="*/ 4 h 219"/>
                    <a:gd name="T24" fmla="*/ 7 w 444"/>
                    <a:gd name="T25" fmla="*/ 4 h 219"/>
                    <a:gd name="T26" fmla="*/ 9 w 444"/>
                    <a:gd name="T27" fmla="*/ 3 h 219"/>
                    <a:gd name="T28" fmla="*/ 10 w 444"/>
                    <a:gd name="T29" fmla="*/ 2 h 219"/>
                    <a:gd name="T30" fmla="*/ 10 w 444"/>
                    <a:gd name="T31" fmla="*/ 2 h 219"/>
                    <a:gd name="T32" fmla="*/ 10 w 444"/>
                    <a:gd name="T33" fmla="*/ 1 h 219"/>
                    <a:gd name="T34" fmla="*/ 9 w 444"/>
                    <a:gd name="T35" fmla="*/ 1 h 219"/>
                    <a:gd name="T36" fmla="*/ 9 w 444"/>
                    <a:gd name="T37" fmla="*/ 1 h 219"/>
                    <a:gd name="T38" fmla="*/ 8 w 444"/>
                    <a:gd name="T39" fmla="*/ 1 h 219"/>
                    <a:gd name="T40" fmla="*/ 7 w 444"/>
                    <a:gd name="T41" fmla="*/ 0 h 219"/>
                    <a:gd name="T42" fmla="*/ 4 w 444"/>
                    <a:gd name="T43" fmla="*/ 0 h 219"/>
                    <a:gd name="T44" fmla="*/ 4 w 444"/>
                    <a:gd name="T45" fmla="*/ 0 h 219"/>
                    <a:gd name="T46" fmla="*/ 4 w 444"/>
                    <a:gd name="T47" fmla="*/ 1 h 219"/>
                    <a:gd name="T48" fmla="*/ 4 w 444"/>
                    <a:gd name="T49" fmla="*/ 1 h 219"/>
                    <a:gd name="T50" fmla="*/ 4 w 444"/>
                    <a:gd name="T51" fmla="*/ 1 h 219"/>
                    <a:gd name="T52" fmla="*/ 3 w 444"/>
                    <a:gd name="T53" fmla="*/ 1 h 219"/>
                    <a:gd name="T54" fmla="*/ 3 w 444"/>
                    <a:gd name="T55" fmla="*/ 1 h 219"/>
                    <a:gd name="T56" fmla="*/ 2 w 444"/>
                    <a:gd name="T57" fmla="*/ 1 h 219"/>
                    <a:gd name="T58" fmla="*/ 2 w 444"/>
                    <a:gd name="T59" fmla="*/ 1 h 219"/>
                    <a:gd name="T60" fmla="*/ 2 w 444"/>
                    <a:gd name="T61" fmla="*/ 1 h 219"/>
                    <a:gd name="T62" fmla="*/ 2 w 444"/>
                    <a:gd name="T63" fmla="*/ 2 h 219"/>
                    <a:gd name="T64" fmla="*/ 2 w 444"/>
                    <a:gd name="T65" fmla="*/ 2 h 219"/>
                    <a:gd name="T66" fmla="*/ 2 w 444"/>
                    <a:gd name="T67" fmla="*/ 3 h 219"/>
                    <a:gd name="T68" fmla="*/ 4 w 444"/>
                    <a:gd name="T69" fmla="*/ 3 h 219"/>
                    <a:gd name="T70" fmla="*/ 4 w 444"/>
                    <a:gd name="T71" fmla="*/ 2 h 219"/>
                    <a:gd name="T72" fmla="*/ 5 w 444"/>
                    <a:gd name="T73" fmla="*/ 3 h 219"/>
                    <a:gd name="T74" fmla="*/ 4 w 444"/>
                    <a:gd name="T75" fmla="*/ 3 h 219"/>
                    <a:gd name="T76" fmla="*/ 4 w 444"/>
                    <a:gd name="T77" fmla="*/ 3 h 219"/>
                    <a:gd name="T78" fmla="*/ 3 w 444"/>
                    <a:gd name="T79" fmla="*/ 3 h 219"/>
                    <a:gd name="T80" fmla="*/ 3 w 444"/>
                    <a:gd name="T81" fmla="*/ 3 h 219"/>
                    <a:gd name="T82" fmla="*/ 3 w 444"/>
                    <a:gd name="T83" fmla="*/ 3 h 219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44"/>
                    <a:gd name="T127" fmla="*/ 0 h 219"/>
                    <a:gd name="T128" fmla="*/ 444 w 444"/>
                    <a:gd name="T129" fmla="*/ 219 h 219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44" h="219">
                      <a:moveTo>
                        <a:pt x="113" y="156"/>
                      </a:moveTo>
                      <a:lnTo>
                        <a:pt x="81" y="156"/>
                      </a:lnTo>
                      <a:lnTo>
                        <a:pt x="16" y="165"/>
                      </a:lnTo>
                      <a:lnTo>
                        <a:pt x="0" y="190"/>
                      </a:lnTo>
                      <a:lnTo>
                        <a:pt x="16" y="200"/>
                      </a:lnTo>
                      <a:lnTo>
                        <a:pt x="29" y="207"/>
                      </a:lnTo>
                      <a:lnTo>
                        <a:pt x="118" y="206"/>
                      </a:lnTo>
                      <a:lnTo>
                        <a:pt x="179" y="206"/>
                      </a:lnTo>
                      <a:lnTo>
                        <a:pt x="207" y="219"/>
                      </a:lnTo>
                      <a:lnTo>
                        <a:pt x="216" y="192"/>
                      </a:lnTo>
                      <a:lnTo>
                        <a:pt x="242" y="190"/>
                      </a:lnTo>
                      <a:lnTo>
                        <a:pt x="278" y="180"/>
                      </a:lnTo>
                      <a:lnTo>
                        <a:pt x="309" y="172"/>
                      </a:lnTo>
                      <a:lnTo>
                        <a:pt x="363" y="136"/>
                      </a:lnTo>
                      <a:lnTo>
                        <a:pt x="423" y="102"/>
                      </a:lnTo>
                      <a:lnTo>
                        <a:pt x="444" y="84"/>
                      </a:lnTo>
                      <a:lnTo>
                        <a:pt x="436" y="50"/>
                      </a:lnTo>
                      <a:lnTo>
                        <a:pt x="406" y="50"/>
                      </a:lnTo>
                      <a:lnTo>
                        <a:pt x="382" y="35"/>
                      </a:lnTo>
                      <a:lnTo>
                        <a:pt x="349" y="22"/>
                      </a:lnTo>
                      <a:lnTo>
                        <a:pt x="275" y="14"/>
                      </a:lnTo>
                      <a:lnTo>
                        <a:pt x="182" y="0"/>
                      </a:lnTo>
                      <a:lnTo>
                        <a:pt x="165" y="4"/>
                      </a:lnTo>
                      <a:lnTo>
                        <a:pt x="171" y="22"/>
                      </a:lnTo>
                      <a:lnTo>
                        <a:pt x="180" y="39"/>
                      </a:lnTo>
                      <a:lnTo>
                        <a:pt x="156" y="45"/>
                      </a:lnTo>
                      <a:lnTo>
                        <a:pt x="148" y="33"/>
                      </a:lnTo>
                      <a:lnTo>
                        <a:pt x="117" y="29"/>
                      </a:lnTo>
                      <a:lnTo>
                        <a:pt x="76" y="33"/>
                      </a:lnTo>
                      <a:lnTo>
                        <a:pt x="93" y="45"/>
                      </a:lnTo>
                      <a:lnTo>
                        <a:pt x="93" y="57"/>
                      </a:lnTo>
                      <a:lnTo>
                        <a:pt x="86" y="72"/>
                      </a:lnTo>
                      <a:lnTo>
                        <a:pt x="86" y="95"/>
                      </a:lnTo>
                      <a:lnTo>
                        <a:pt x="98" y="108"/>
                      </a:lnTo>
                      <a:lnTo>
                        <a:pt x="156" y="108"/>
                      </a:lnTo>
                      <a:lnTo>
                        <a:pt x="174" y="107"/>
                      </a:lnTo>
                      <a:lnTo>
                        <a:pt x="192" y="126"/>
                      </a:lnTo>
                      <a:lnTo>
                        <a:pt x="173" y="153"/>
                      </a:lnTo>
                      <a:lnTo>
                        <a:pt x="154" y="153"/>
                      </a:lnTo>
                      <a:lnTo>
                        <a:pt x="132" y="152"/>
                      </a:lnTo>
                      <a:lnTo>
                        <a:pt x="123" y="153"/>
                      </a:lnTo>
                      <a:lnTo>
                        <a:pt x="113" y="156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2" name="Freeform 495"/>
                <p:cNvSpPr/>
                <p:nvPr/>
              </p:nvSpPr>
              <p:spPr bwMode="auto">
                <a:xfrm>
                  <a:off x="2483662" y="3067803"/>
                  <a:ext cx="136463" cy="103427"/>
                </a:xfrm>
                <a:custGeom>
                  <a:avLst/>
                  <a:gdLst>
                    <a:gd name="T0" fmla="*/ 0 w 285"/>
                    <a:gd name="T1" fmla="*/ 5 h 227"/>
                    <a:gd name="T2" fmla="*/ 0 w 285"/>
                    <a:gd name="T3" fmla="*/ 5 h 227"/>
                    <a:gd name="T4" fmla="*/ 1 w 285"/>
                    <a:gd name="T5" fmla="*/ 5 h 227"/>
                    <a:gd name="T6" fmla="*/ 2 w 285"/>
                    <a:gd name="T7" fmla="*/ 5 h 227"/>
                    <a:gd name="T8" fmla="*/ 3 w 285"/>
                    <a:gd name="T9" fmla="*/ 3 h 227"/>
                    <a:gd name="T10" fmla="*/ 3 w 285"/>
                    <a:gd name="T11" fmla="*/ 4 h 227"/>
                    <a:gd name="T12" fmla="*/ 4 w 285"/>
                    <a:gd name="T13" fmla="*/ 5 h 227"/>
                    <a:gd name="T14" fmla="*/ 5 w 285"/>
                    <a:gd name="T15" fmla="*/ 5 h 227"/>
                    <a:gd name="T16" fmla="*/ 6 w 285"/>
                    <a:gd name="T17" fmla="*/ 5 h 227"/>
                    <a:gd name="T18" fmla="*/ 7 w 285"/>
                    <a:gd name="T19" fmla="*/ 5 h 227"/>
                    <a:gd name="T20" fmla="*/ 7 w 285"/>
                    <a:gd name="T21" fmla="*/ 3 h 227"/>
                    <a:gd name="T22" fmla="*/ 6 w 285"/>
                    <a:gd name="T23" fmla="*/ 3 h 227"/>
                    <a:gd name="T24" fmla="*/ 6 w 285"/>
                    <a:gd name="T25" fmla="*/ 3 h 227"/>
                    <a:gd name="T26" fmla="*/ 6 w 285"/>
                    <a:gd name="T27" fmla="*/ 2 h 227"/>
                    <a:gd name="T28" fmla="*/ 5 w 285"/>
                    <a:gd name="T29" fmla="*/ 2 h 227"/>
                    <a:gd name="T30" fmla="*/ 5 w 285"/>
                    <a:gd name="T31" fmla="*/ 2 h 227"/>
                    <a:gd name="T32" fmla="*/ 3 w 285"/>
                    <a:gd name="T33" fmla="*/ 2 h 227"/>
                    <a:gd name="T34" fmla="*/ 3 w 285"/>
                    <a:gd name="T35" fmla="*/ 2 h 227"/>
                    <a:gd name="T36" fmla="*/ 2 w 285"/>
                    <a:gd name="T37" fmla="*/ 2 h 227"/>
                    <a:gd name="T38" fmla="*/ 1 w 285"/>
                    <a:gd name="T39" fmla="*/ 1 h 227"/>
                    <a:gd name="T40" fmla="*/ 1 w 285"/>
                    <a:gd name="T41" fmla="*/ 1 h 227"/>
                    <a:gd name="T42" fmla="*/ 1 w 285"/>
                    <a:gd name="T43" fmla="*/ 1 h 227"/>
                    <a:gd name="T44" fmla="*/ 1 w 285"/>
                    <a:gd name="T45" fmla="*/ 1 h 227"/>
                    <a:gd name="T46" fmla="*/ 3 w 285"/>
                    <a:gd name="T47" fmla="*/ 1 h 227"/>
                    <a:gd name="T48" fmla="*/ 3 w 285"/>
                    <a:gd name="T49" fmla="*/ 0 h 227"/>
                    <a:gd name="T50" fmla="*/ 2 w 285"/>
                    <a:gd name="T51" fmla="*/ 0 h 227"/>
                    <a:gd name="T52" fmla="*/ 1 w 285"/>
                    <a:gd name="T53" fmla="*/ 0 h 227"/>
                    <a:gd name="T54" fmla="*/ 0 w 285"/>
                    <a:gd name="T55" fmla="*/ 1 h 227"/>
                    <a:gd name="T56" fmla="*/ 0 w 285"/>
                    <a:gd name="T57" fmla="*/ 2 h 227"/>
                    <a:gd name="T58" fmla="*/ 0 w 285"/>
                    <a:gd name="T59" fmla="*/ 2 h 227"/>
                    <a:gd name="T60" fmla="*/ 0 w 285"/>
                    <a:gd name="T61" fmla="*/ 2 h 227"/>
                    <a:gd name="T62" fmla="*/ 1 w 285"/>
                    <a:gd name="T63" fmla="*/ 2 h 227"/>
                    <a:gd name="T64" fmla="*/ 1 w 285"/>
                    <a:gd name="T65" fmla="*/ 3 h 227"/>
                    <a:gd name="T66" fmla="*/ 1 w 285"/>
                    <a:gd name="T67" fmla="*/ 4 h 227"/>
                    <a:gd name="T68" fmla="*/ 1 w 285"/>
                    <a:gd name="T69" fmla="*/ 4 h 227"/>
                    <a:gd name="T70" fmla="*/ 1 w 285"/>
                    <a:gd name="T71" fmla="*/ 4 h 227"/>
                    <a:gd name="T72" fmla="*/ 0 w 285"/>
                    <a:gd name="T73" fmla="*/ 5 h 227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285"/>
                    <a:gd name="T112" fmla="*/ 0 h 227"/>
                    <a:gd name="T113" fmla="*/ 285 w 285"/>
                    <a:gd name="T114" fmla="*/ 227 h 227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285" h="227">
                      <a:moveTo>
                        <a:pt x="0" y="192"/>
                      </a:moveTo>
                      <a:lnTo>
                        <a:pt x="4" y="201"/>
                      </a:lnTo>
                      <a:lnTo>
                        <a:pt x="27" y="205"/>
                      </a:lnTo>
                      <a:lnTo>
                        <a:pt x="76" y="207"/>
                      </a:lnTo>
                      <a:lnTo>
                        <a:pt x="135" y="138"/>
                      </a:lnTo>
                      <a:lnTo>
                        <a:pt x="150" y="181"/>
                      </a:lnTo>
                      <a:lnTo>
                        <a:pt x="166" y="227"/>
                      </a:lnTo>
                      <a:lnTo>
                        <a:pt x="206" y="209"/>
                      </a:lnTo>
                      <a:lnTo>
                        <a:pt x="243" y="191"/>
                      </a:lnTo>
                      <a:lnTo>
                        <a:pt x="285" y="205"/>
                      </a:lnTo>
                      <a:lnTo>
                        <a:pt x="285" y="139"/>
                      </a:lnTo>
                      <a:lnTo>
                        <a:pt x="258" y="127"/>
                      </a:lnTo>
                      <a:lnTo>
                        <a:pt x="242" y="128"/>
                      </a:lnTo>
                      <a:lnTo>
                        <a:pt x="253" y="85"/>
                      </a:lnTo>
                      <a:lnTo>
                        <a:pt x="218" y="76"/>
                      </a:lnTo>
                      <a:lnTo>
                        <a:pt x="192" y="73"/>
                      </a:lnTo>
                      <a:lnTo>
                        <a:pt x="151" y="73"/>
                      </a:lnTo>
                      <a:lnTo>
                        <a:pt x="121" y="73"/>
                      </a:lnTo>
                      <a:lnTo>
                        <a:pt x="81" y="73"/>
                      </a:lnTo>
                      <a:lnTo>
                        <a:pt x="49" y="66"/>
                      </a:lnTo>
                      <a:lnTo>
                        <a:pt x="45" y="59"/>
                      </a:lnTo>
                      <a:lnTo>
                        <a:pt x="50" y="44"/>
                      </a:lnTo>
                      <a:lnTo>
                        <a:pt x="65" y="32"/>
                      </a:lnTo>
                      <a:lnTo>
                        <a:pt x="119" y="21"/>
                      </a:lnTo>
                      <a:lnTo>
                        <a:pt x="117" y="0"/>
                      </a:lnTo>
                      <a:lnTo>
                        <a:pt x="73" y="7"/>
                      </a:lnTo>
                      <a:lnTo>
                        <a:pt x="40" y="4"/>
                      </a:lnTo>
                      <a:lnTo>
                        <a:pt x="19" y="27"/>
                      </a:lnTo>
                      <a:lnTo>
                        <a:pt x="9" y="73"/>
                      </a:lnTo>
                      <a:lnTo>
                        <a:pt x="11" y="84"/>
                      </a:lnTo>
                      <a:lnTo>
                        <a:pt x="8" y="86"/>
                      </a:lnTo>
                      <a:lnTo>
                        <a:pt x="34" y="97"/>
                      </a:lnTo>
                      <a:lnTo>
                        <a:pt x="47" y="122"/>
                      </a:lnTo>
                      <a:lnTo>
                        <a:pt x="39" y="153"/>
                      </a:lnTo>
                      <a:lnTo>
                        <a:pt x="32" y="155"/>
                      </a:lnTo>
                      <a:lnTo>
                        <a:pt x="25" y="166"/>
                      </a:lnTo>
                      <a:lnTo>
                        <a:pt x="0" y="192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53" name="Freeform 496"/>
                <p:cNvSpPr/>
                <p:nvPr/>
              </p:nvSpPr>
              <p:spPr bwMode="auto">
                <a:xfrm>
                  <a:off x="3358033" y="3476736"/>
                  <a:ext cx="10108" cy="15912"/>
                </a:xfrm>
                <a:custGeom>
                  <a:avLst/>
                  <a:gdLst>
                    <a:gd name="T0" fmla="*/ 0 w 19"/>
                    <a:gd name="T1" fmla="*/ 1 h 33"/>
                    <a:gd name="T2" fmla="*/ 0 w 19"/>
                    <a:gd name="T3" fmla="*/ 0 h 33"/>
                    <a:gd name="T4" fmla="*/ 1 w 19"/>
                    <a:gd name="T5" fmla="*/ 1 h 33"/>
                    <a:gd name="T6" fmla="*/ 0 w 19"/>
                    <a:gd name="T7" fmla="*/ 1 h 3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9"/>
                    <a:gd name="T13" fmla="*/ 0 h 33"/>
                    <a:gd name="T14" fmla="*/ 19 w 19"/>
                    <a:gd name="T15" fmla="*/ 33 h 3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9" h="33">
                      <a:moveTo>
                        <a:pt x="0" y="33"/>
                      </a:moveTo>
                      <a:lnTo>
                        <a:pt x="11" y="0"/>
                      </a:lnTo>
                      <a:lnTo>
                        <a:pt x="19" y="18"/>
                      </a:lnTo>
                      <a:lnTo>
                        <a:pt x="0" y="33"/>
                      </a:lnTo>
                      <a:close/>
                    </a:path>
                  </a:pathLst>
                </a:custGeom>
                <a:grpFill/>
                <a:ln w="6350">
                  <a:solidFill>
                    <a:srgbClr val="FFFFFF"/>
                  </a:solidFill>
                  <a:round/>
                </a:ln>
              </p:spPr>
              <p:txBody>
                <a:bodyPr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en-US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 Narrow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255" name="矩形 254"/>
              <p:cNvSpPr/>
              <p:nvPr/>
            </p:nvSpPr>
            <p:spPr>
              <a:xfrm>
                <a:off x="2195308" y="1417945"/>
                <a:ext cx="2944236" cy="43921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b="1" dirty="0">
                    <a:solidFill>
                      <a:srgbClr val="00336C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018</a:t>
                </a:r>
                <a:r>
                  <a:rPr lang="zh-CN" altLang="en-US" b="1" dirty="0">
                    <a:solidFill>
                      <a:srgbClr val="00336C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年成立全球供应链</a:t>
                </a:r>
              </a:p>
            </p:txBody>
          </p:sp>
          <p:sp>
            <p:nvSpPr>
              <p:cNvPr id="257" name="矩形 256"/>
              <p:cNvSpPr/>
              <p:nvPr/>
            </p:nvSpPr>
            <p:spPr>
              <a:xfrm>
                <a:off x="1788259" y="4171551"/>
                <a:ext cx="642159" cy="36575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sz="1400" dirty="0">
                    <a:solidFill>
                      <a:srgbClr val="00336C"/>
                    </a:solidFill>
                  </a:rPr>
                  <a:t>印度</a:t>
                </a:r>
              </a:p>
            </p:txBody>
          </p:sp>
          <p:sp>
            <p:nvSpPr>
              <p:cNvPr id="258" name="矩形 257"/>
              <p:cNvSpPr/>
              <p:nvPr/>
            </p:nvSpPr>
            <p:spPr>
              <a:xfrm>
                <a:off x="2705989" y="3602600"/>
                <a:ext cx="642159" cy="36575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sz="1400" dirty="0">
                    <a:solidFill>
                      <a:srgbClr val="00336C"/>
                    </a:solidFill>
                  </a:rPr>
                  <a:t>越南</a:t>
                </a:r>
              </a:p>
            </p:txBody>
          </p:sp>
          <p:sp>
            <p:nvSpPr>
              <p:cNvPr id="259" name="矩形 258"/>
              <p:cNvSpPr/>
              <p:nvPr/>
            </p:nvSpPr>
            <p:spPr>
              <a:xfrm>
                <a:off x="4799079" y="5305169"/>
                <a:ext cx="854192" cy="36575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sz="1400" dirty="0">
                    <a:solidFill>
                      <a:srgbClr val="00336C"/>
                    </a:solidFill>
                  </a:rPr>
                  <a:t>阿根廷</a:t>
                </a:r>
              </a:p>
            </p:txBody>
          </p:sp>
          <p:sp>
            <p:nvSpPr>
              <p:cNvPr id="260" name="矩形 259"/>
              <p:cNvSpPr/>
              <p:nvPr/>
            </p:nvSpPr>
            <p:spPr>
              <a:xfrm>
                <a:off x="4871520" y="4199224"/>
                <a:ext cx="1066225" cy="36575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sz="1400" dirty="0">
                    <a:solidFill>
                      <a:srgbClr val="00336C"/>
                    </a:solidFill>
                  </a:rPr>
                  <a:t>厄瓜多尔</a:t>
                </a:r>
              </a:p>
            </p:txBody>
          </p:sp>
          <p:sp>
            <p:nvSpPr>
              <p:cNvPr id="268" name="矩形 267"/>
              <p:cNvSpPr/>
              <p:nvPr/>
            </p:nvSpPr>
            <p:spPr>
              <a:xfrm>
                <a:off x="1532767" y="4458222"/>
                <a:ext cx="1278259" cy="36575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sz="1400" dirty="0"/>
                  <a:t>印度办事处</a:t>
                </a:r>
              </a:p>
            </p:txBody>
          </p:sp>
          <p:sp>
            <p:nvSpPr>
              <p:cNvPr id="269" name="矩形 268"/>
              <p:cNvSpPr/>
              <p:nvPr/>
            </p:nvSpPr>
            <p:spPr>
              <a:xfrm>
                <a:off x="2158158" y="3809954"/>
                <a:ext cx="1278259" cy="36575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sz="1400" dirty="0"/>
                  <a:t>越南分公司</a:t>
                </a:r>
              </a:p>
            </p:txBody>
          </p:sp>
          <p:sp>
            <p:nvSpPr>
              <p:cNvPr id="270" name="矩形 269"/>
              <p:cNvSpPr/>
              <p:nvPr/>
            </p:nvSpPr>
            <p:spPr>
              <a:xfrm>
                <a:off x="5722626" y="3682918"/>
                <a:ext cx="1278259" cy="36575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zh-CN" altLang="en-US" sz="1400" dirty="0"/>
                  <a:t>北美办事处</a:t>
                </a:r>
              </a:p>
            </p:txBody>
          </p:sp>
        </p:grpSp>
        <p:sp>
          <p:nvSpPr>
            <p:cNvPr id="295" name="矩形 294"/>
            <p:cNvSpPr/>
            <p:nvPr/>
          </p:nvSpPr>
          <p:spPr>
            <a:xfrm>
              <a:off x="2526711" y="3708551"/>
              <a:ext cx="1071880" cy="30670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/>
                <a:t>南美办事处</a:t>
              </a:r>
            </a:p>
          </p:txBody>
        </p:sp>
      </p:grpSp>
      <p:pic>
        <p:nvPicPr>
          <p:cNvPr id="256" name="图片 25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972" y="5768834"/>
            <a:ext cx="1667877" cy="623835"/>
          </a:xfrm>
          <a:prstGeom prst="rect">
            <a:avLst/>
          </a:prstGeom>
        </p:spPr>
      </p:pic>
      <p:sp>
        <p:nvSpPr>
          <p:cNvPr id="289" name="îšļíḍé"/>
          <p:cNvSpPr/>
          <p:nvPr/>
        </p:nvSpPr>
        <p:spPr>
          <a:xfrm>
            <a:off x="6724247" y="5702199"/>
            <a:ext cx="538264" cy="538264"/>
          </a:xfrm>
          <a:prstGeom prst="ellipse">
            <a:avLst/>
          </a:prstGeom>
          <a:solidFill>
            <a:schemeClr val="accent1"/>
          </a:solidFill>
          <a:ln w="12700" cap="rnd">
            <a:noFill/>
            <a:prstDash val="solid"/>
            <a:rou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rmAutofit/>
          </a:bodyPr>
          <a:lstStyle/>
          <a:p>
            <a:pPr algn="ctr" defTabSz="913765"/>
            <a:r>
              <a:rPr lang="en-US" altLang="zh-CN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zh-CN" altLang="en-US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2" name="i$ļîḍê"/>
          <p:cNvSpPr/>
          <p:nvPr/>
        </p:nvSpPr>
        <p:spPr bwMode="auto">
          <a:xfrm>
            <a:off x="7430102" y="5743448"/>
            <a:ext cx="4859551" cy="455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019</a:t>
            </a:r>
            <a:r>
              <a:rPr lang="zh-CN" altLang="en-US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年投资印度加工厂</a:t>
            </a:r>
            <a:r>
              <a:rPr lang="en-US" altLang="zh-CN" sz="14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ROYALE MARINE IMPEX PVT. LTD.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 descr="图片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3340" y="1691640"/>
            <a:ext cx="12245340" cy="4245610"/>
          </a:xfrm>
          <a:prstGeom prst="rect">
            <a:avLst/>
          </a:prstGeom>
        </p:spPr>
      </p:pic>
      <p:sp>
        <p:nvSpPr>
          <p:cNvPr id="19" name="ï$ļïde"/>
          <p:cNvSpPr/>
          <p:nvPr/>
        </p:nvSpPr>
        <p:spPr>
          <a:xfrm>
            <a:off x="276470" y="2358101"/>
            <a:ext cx="1123404" cy="7424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46800" rIns="90000" bIns="46800">
            <a:norm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业</a:t>
            </a:r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.0</a:t>
            </a:r>
            <a:endParaRPr lang="en-US" altLang="zh-CN" sz="24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íṡḷïdé"/>
          <p:cNvSpPr/>
          <p:nvPr/>
        </p:nvSpPr>
        <p:spPr>
          <a:xfrm>
            <a:off x="1449153" y="2625710"/>
            <a:ext cx="791531" cy="55983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46800" rIns="90000" bIns="46800" anchor="ctr" anchorCtr="0">
            <a:normAutofit/>
          </a:bodyPr>
          <a:lstStyle/>
          <a:p>
            <a:endParaRPr lang="zh-CN" altLang="en-US" b="1" dirty="0">
              <a:solidFill>
                <a:schemeClr val="bg1"/>
              </a:solidFill>
              <a:effectLst/>
            </a:endParaRPr>
          </a:p>
        </p:txBody>
      </p:sp>
      <p:cxnSp>
        <p:nvCxnSpPr>
          <p:cNvPr id="25" name="直接连接符 24"/>
          <p:cNvCxnSpPr/>
          <p:nvPr/>
        </p:nvCxnSpPr>
        <p:spPr>
          <a:xfrm>
            <a:off x="2318858" y="2473253"/>
            <a:ext cx="0" cy="1605145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>
            <a:off x="4565822" y="2443062"/>
            <a:ext cx="0" cy="1605145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矩形 26"/>
          <p:cNvSpPr/>
          <p:nvPr/>
        </p:nvSpPr>
        <p:spPr>
          <a:xfrm>
            <a:off x="232778" y="2856997"/>
            <a:ext cx="2082140" cy="138499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动化生产设备</a:t>
            </a:r>
          </a:p>
          <a:p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utomatic</a:t>
            </a:r>
          </a:p>
          <a:p>
            <a:r>
              <a: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RP</a:t>
            </a: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信息管理系统</a:t>
            </a:r>
          </a:p>
          <a:p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formation management system</a:t>
            </a:r>
          </a:p>
          <a:p>
            <a:r>
              <a:rPr lang="en-US" altLang="zh-CN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G</a:t>
            </a:r>
          </a:p>
        </p:txBody>
      </p:sp>
      <p:sp>
        <p:nvSpPr>
          <p:cNvPr id="28" name="ï$ļïde"/>
          <p:cNvSpPr/>
          <p:nvPr/>
        </p:nvSpPr>
        <p:spPr>
          <a:xfrm>
            <a:off x="2463430" y="2358100"/>
            <a:ext cx="1585991" cy="4581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46800" rIns="90000" bIns="46800">
            <a:noAutofit/>
          </a:bodyPr>
          <a:lstStyle/>
          <a:p>
            <a:r>
              <a:rPr lang="zh-CN" altLang="en-US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食品智造</a:t>
            </a:r>
            <a:endParaRPr lang="zh-CN" altLang="en-US" sz="24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2430155" y="2854035"/>
            <a:ext cx="2354881" cy="116955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海洋食品智造</a:t>
            </a:r>
          </a:p>
          <a:p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央厨房</a:t>
            </a:r>
          </a:p>
          <a:p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telligent manufacturing</a:t>
            </a:r>
          </a:p>
          <a:p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entral kitchen</a:t>
            </a:r>
          </a:p>
          <a:p>
            <a:endParaRPr lang="en-US" altLang="zh-CN" sz="12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4654554" y="2830135"/>
            <a:ext cx="2216655" cy="120032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zh-CN" altLang="en-US" sz="1600" b="1" dirty="0">
                <a:solidFill>
                  <a:schemeClr val="bg1"/>
                </a:solidFill>
                <a:latin typeface="Arial Unicode MS" panose="020B0604020202020204" pitchFamily="34" charset="-122"/>
                <a:ea typeface="微软雅黑" panose="020B0503020204020204" pitchFamily="34" charset="-122"/>
              </a:rPr>
              <a:t>工信部</a:t>
            </a:r>
            <a:r>
              <a:rPr lang="en-US" altLang="zh-CN" sz="1600" b="1" dirty="0">
                <a:solidFill>
                  <a:schemeClr val="bg1"/>
                </a:solidFill>
                <a:latin typeface="Arial Unicode MS" panose="020B0604020202020204" pitchFamily="34" charset="-122"/>
                <a:ea typeface="微软雅黑" panose="020B0503020204020204" pitchFamily="34" charset="-122"/>
              </a:rPr>
              <a:t>《2018</a:t>
            </a:r>
            <a:r>
              <a:rPr lang="zh-CN" altLang="en-US" sz="1600" b="1" dirty="0">
                <a:solidFill>
                  <a:schemeClr val="bg1"/>
                </a:solidFill>
                <a:latin typeface="Arial Unicode MS" panose="020B0604020202020204" pitchFamily="34" charset="-122"/>
                <a:ea typeface="微软雅黑" panose="020B0503020204020204" pitchFamily="34" charset="-122"/>
              </a:rPr>
              <a:t>年智能制造综合标准化与新模式引用项目</a:t>
            </a:r>
            <a:r>
              <a:rPr lang="en-US" altLang="zh-CN" sz="1600" b="1" dirty="0">
                <a:solidFill>
                  <a:schemeClr val="bg1"/>
                </a:solidFill>
                <a:latin typeface="Arial Unicode MS" panose="020B0604020202020204" pitchFamily="34" charset="-122"/>
                <a:ea typeface="微软雅黑" panose="020B0503020204020204" pitchFamily="34" charset="-122"/>
              </a:rPr>
              <a:t>》</a:t>
            </a:r>
          </a:p>
          <a:p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IT Intelligent Manufacturing Project</a:t>
            </a:r>
          </a:p>
        </p:txBody>
      </p:sp>
      <p:sp>
        <p:nvSpPr>
          <p:cNvPr id="31" name="ï$ļïde"/>
          <p:cNvSpPr/>
          <p:nvPr/>
        </p:nvSpPr>
        <p:spPr>
          <a:xfrm>
            <a:off x="4666607" y="2358101"/>
            <a:ext cx="1123401" cy="3525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46800" rIns="90000" bIns="46800">
            <a:noAutofit/>
          </a:bodyPr>
          <a:lstStyle/>
          <a:p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o. 1</a:t>
            </a:r>
            <a:endParaRPr lang="en-US" altLang="zh-CN" sz="24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ï$ļïde"/>
          <p:cNvSpPr/>
          <p:nvPr/>
        </p:nvSpPr>
        <p:spPr>
          <a:xfrm>
            <a:off x="308144" y="4316542"/>
            <a:ext cx="943057" cy="47772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46800" rIns="90000" bIns="46800">
            <a:normAutofit/>
          </a:bodyPr>
          <a:lstStyle/>
          <a:p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0%</a:t>
            </a:r>
            <a:endParaRPr lang="en-US" altLang="zh-CN" sz="24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íṡḷïdé"/>
          <p:cNvSpPr/>
          <p:nvPr/>
        </p:nvSpPr>
        <p:spPr>
          <a:xfrm>
            <a:off x="1449146" y="4514351"/>
            <a:ext cx="791530" cy="5598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46800" rIns="90000" bIns="46800" anchor="ctr" anchorCtr="0">
            <a:normAutofit/>
          </a:bodyPr>
          <a:lstStyle/>
          <a:p>
            <a:endParaRPr lang="zh-CN" altLang="en-US" b="1" dirty="0">
              <a:solidFill>
                <a:schemeClr val="bg1"/>
              </a:solidFill>
              <a:effectLst/>
            </a:endParaRPr>
          </a:p>
        </p:txBody>
      </p:sp>
      <p:cxnSp>
        <p:nvCxnSpPr>
          <p:cNvPr id="33" name="直接连接符 32"/>
          <p:cNvCxnSpPr/>
          <p:nvPr/>
        </p:nvCxnSpPr>
        <p:spPr>
          <a:xfrm>
            <a:off x="2328694" y="4319641"/>
            <a:ext cx="0" cy="1605145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接连接符 33"/>
          <p:cNvCxnSpPr/>
          <p:nvPr/>
        </p:nvCxnSpPr>
        <p:spPr>
          <a:xfrm>
            <a:off x="4565813" y="4331703"/>
            <a:ext cx="0" cy="1605145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矩形 34"/>
          <p:cNvSpPr/>
          <p:nvPr/>
        </p:nvSpPr>
        <p:spPr>
          <a:xfrm>
            <a:off x="288676" y="4771401"/>
            <a:ext cx="2082140" cy="7386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动化程度</a:t>
            </a:r>
          </a:p>
          <a:p>
            <a:pPr>
              <a:lnSpc>
                <a:spcPct val="150000"/>
              </a:lnSpc>
            </a:pP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utomation</a:t>
            </a:r>
          </a:p>
        </p:txBody>
      </p:sp>
      <p:sp>
        <p:nvSpPr>
          <p:cNvPr id="36" name="ï$ļïde"/>
          <p:cNvSpPr/>
          <p:nvPr/>
        </p:nvSpPr>
        <p:spPr>
          <a:xfrm>
            <a:off x="2476289" y="4335896"/>
            <a:ext cx="1123401" cy="3525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46800" rIns="90000" bIns="46800">
            <a:noAutofit/>
          </a:bodyPr>
          <a:lstStyle/>
          <a:p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0%</a:t>
            </a:r>
            <a:endParaRPr lang="en-US" altLang="zh-CN" sz="24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2487736" y="4794269"/>
            <a:ext cx="2045887" cy="7386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体</a:t>
            </a:r>
            <a:r>
              <a:rPr lang="zh-CN" altLang="en-US" sz="1600" b="1" dirty="0">
                <a:solidFill>
                  <a:schemeClr val="bg1"/>
                </a:solidFill>
                <a:latin typeface="Arial Unicode MS" panose="020B0604020202020204" pitchFamily="34" charset="-122"/>
                <a:ea typeface="微软雅黑" panose="020B0503020204020204" pitchFamily="34" charset="-122"/>
              </a:rPr>
              <a:t>增长</a:t>
            </a:r>
          </a:p>
          <a:p>
            <a:pPr>
              <a:lnSpc>
                <a:spcPct val="150000"/>
              </a:lnSpc>
            </a:pP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crease</a:t>
            </a:r>
          </a:p>
        </p:txBody>
      </p:sp>
      <p:sp>
        <p:nvSpPr>
          <p:cNvPr id="38" name="矩形 37"/>
          <p:cNvSpPr/>
          <p:nvPr/>
        </p:nvSpPr>
        <p:spPr>
          <a:xfrm>
            <a:off x="4659664" y="4771401"/>
            <a:ext cx="1798693" cy="7386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部收益率</a:t>
            </a:r>
          </a:p>
          <a:p>
            <a:pPr>
              <a:lnSpc>
                <a:spcPct val="150000"/>
              </a:lnSpc>
            </a:pPr>
            <a:r>
              <a:rPr lang="en-US" altLang="zh-CN" sz="1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ternal Rate</a:t>
            </a:r>
          </a:p>
        </p:txBody>
      </p:sp>
      <p:sp>
        <p:nvSpPr>
          <p:cNvPr id="39" name="ï$ļïde"/>
          <p:cNvSpPr/>
          <p:nvPr/>
        </p:nvSpPr>
        <p:spPr>
          <a:xfrm>
            <a:off x="4713407" y="4335896"/>
            <a:ext cx="1123401" cy="43163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46800" rIns="90000" bIns="46800">
            <a:noAutofit/>
          </a:bodyPr>
          <a:lstStyle/>
          <a:p>
            <a:r>
              <a:rPr lang="en-US" altLang="zh-CN" sz="2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3.7%</a:t>
            </a:r>
            <a:endParaRPr lang="en-US" altLang="zh-CN" sz="2400" b="1" dirty="0">
              <a:solidFill>
                <a:schemeClr val="bg1"/>
              </a:solidFill>
              <a:effectLst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矩形 16"/>
          <p:cNvSpPr/>
          <p:nvPr/>
        </p:nvSpPr>
        <p:spPr bwMode="auto">
          <a:xfrm>
            <a:off x="6972300" y="1543050"/>
            <a:ext cx="5225415" cy="4698365"/>
          </a:xfrm>
          <a:prstGeom prst="rect">
            <a:avLst/>
          </a:prstGeom>
          <a:solidFill>
            <a:schemeClr val="tx1">
              <a:lumMod val="75000"/>
              <a:lumOff val="25000"/>
              <a:alpha val="43000"/>
            </a:schemeClr>
          </a:solidFill>
          <a:ln w="6" cap="flat">
            <a:noFill/>
            <a:prstDash val="solid"/>
            <a:miter lim="800000"/>
          </a:ln>
          <a:effectLst>
            <a:outerShdw blurRad="50800" dist="50800" dir="7200000" algn="ctr" rotWithShape="0">
              <a:schemeClr val="accent6">
                <a:lumMod val="75000"/>
                <a:lumOff val="25000"/>
                <a:alpha val="47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/>
          <a:lstStyle/>
          <a:p>
            <a:pPr algn="ctr"/>
            <a:endParaRPr lang="zh-CN" altLang="en-US" dirty="0"/>
          </a:p>
        </p:txBody>
      </p:sp>
      <p:grpSp>
        <p:nvGrpSpPr>
          <p:cNvPr id="8" name="组合 7"/>
          <p:cNvGrpSpPr/>
          <p:nvPr/>
        </p:nvGrpSpPr>
        <p:grpSpPr>
          <a:xfrm>
            <a:off x="7565155" y="2066033"/>
            <a:ext cx="4008893" cy="3946693"/>
            <a:chOff x="2856435" y="1993692"/>
            <a:chExt cx="3214582" cy="319290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4" name="图片 3"/>
            <p:cNvPicPr>
              <a:picLocks noChangeAspect="1"/>
            </p:cNvPicPr>
            <p:nvPr/>
          </p:nvPicPr>
          <p:blipFill rotWithShape="1">
            <a:blip r:embed="rId4"/>
            <a:srcRect l="9412" t="10115" r="12965" b="11768"/>
            <a:stretch>
              <a:fillRect/>
            </a:stretch>
          </p:blipFill>
          <p:spPr>
            <a:xfrm>
              <a:off x="2856435" y="1993692"/>
              <a:ext cx="3214582" cy="3192905"/>
            </a:xfrm>
            <a:prstGeom prst="ellipse">
              <a:avLst/>
            </a:prstGeom>
            <a:effectLst>
              <a:outerShdw blurRad="50800" dist="50800" dir="5400000" algn="ctr" rotWithShape="0">
                <a:srgbClr val="000000">
                  <a:alpha val="28000"/>
                </a:srgbClr>
              </a:outerShdw>
            </a:effectLst>
          </p:spPr>
        </p:pic>
        <p:pic>
          <p:nvPicPr>
            <p:cNvPr id="7" name="图片 6"/>
            <p:cNvPicPr>
              <a:picLocks noChangeAspect="1"/>
            </p:cNvPicPr>
            <p:nvPr/>
          </p:nvPicPr>
          <p:blipFill rotWithShape="1">
            <a:blip r:embed="rId5"/>
            <a:srcRect l="25048" t="25603" r="29426" b="27470"/>
            <a:stretch>
              <a:fillRect/>
            </a:stretch>
          </p:blipFill>
          <p:spPr>
            <a:xfrm>
              <a:off x="4038033" y="3276309"/>
              <a:ext cx="806649" cy="756306"/>
            </a:xfrm>
            <a:prstGeom prst="ellipse">
              <a:avLst/>
            </a:prstGeom>
          </p:spPr>
        </p:pic>
      </p:grpSp>
      <p:sp>
        <p:nvSpPr>
          <p:cNvPr id="41" name="文本框 40"/>
          <p:cNvSpPr txBox="1"/>
          <p:nvPr/>
        </p:nvSpPr>
        <p:spPr>
          <a:xfrm>
            <a:off x="9050937" y="3857822"/>
            <a:ext cx="957572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</a:p>
        </p:txBody>
      </p:sp>
      <p:sp>
        <p:nvSpPr>
          <p:cNvPr id="45" name="文本框 44"/>
          <p:cNvSpPr txBox="1"/>
          <p:nvPr/>
        </p:nvSpPr>
        <p:spPr>
          <a:xfrm>
            <a:off x="9038721" y="3124070"/>
            <a:ext cx="957572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</a:p>
        </p:txBody>
      </p:sp>
      <p:sp>
        <p:nvSpPr>
          <p:cNvPr id="46" name="文本框 45"/>
          <p:cNvSpPr txBox="1"/>
          <p:nvPr/>
        </p:nvSpPr>
        <p:spPr>
          <a:xfrm>
            <a:off x="9038721" y="2320852"/>
            <a:ext cx="957572" cy="584775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altLang="zh-CN" sz="32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</a:t>
            </a:r>
          </a:p>
        </p:txBody>
      </p:sp>
      <p:sp>
        <p:nvSpPr>
          <p:cNvPr id="9" name="矩形 8"/>
          <p:cNvSpPr/>
          <p:nvPr/>
        </p:nvSpPr>
        <p:spPr>
          <a:xfrm>
            <a:off x="9569601" y="4156304"/>
            <a:ext cx="1315745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新工厂</a:t>
            </a:r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New Factory</a:t>
            </a:r>
          </a:p>
        </p:txBody>
      </p:sp>
      <p:sp>
        <p:nvSpPr>
          <p:cNvPr id="47" name="矩形 46"/>
          <p:cNvSpPr/>
          <p:nvPr/>
        </p:nvSpPr>
        <p:spPr>
          <a:xfrm>
            <a:off x="9548369" y="3396590"/>
            <a:ext cx="1459374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自有工厂</a:t>
            </a:r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wn Factories</a:t>
            </a:r>
          </a:p>
        </p:txBody>
      </p:sp>
      <p:sp>
        <p:nvSpPr>
          <p:cNvPr id="48" name="矩形 47"/>
          <p:cNvSpPr/>
          <p:nvPr/>
        </p:nvSpPr>
        <p:spPr>
          <a:xfrm>
            <a:off x="9595749" y="2568525"/>
            <a:ext cx="1477007" cy="5232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r>
              <a:rPr lang="zh-CN" altLang="en-US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外协工厂</a:t>
            </a:r>
            <a:endParaRPr lang="en-US" altLang="zh-CN" sz="14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sz="14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EM Factories</a:t>
            </a:r>
          </a:p>
        </p:txBody>
      </p:sp>
      <p:sp>
        <p:nvSpPr>
          <p:cNvPr id="6" name="文本框 5"/>
          <p:cNvSpPr txBox="1"/>
          <p:nvPr/>
        </p:nvSpPr>
        <p:spPr>
          <a:xfrm>
            <a:off x="639445" y="321945"/>
            <a:ext cx="9072880" cy="11430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800" b="1" dirty="0">
                <a:effectLst/>
                <a:sym typeface="+mn-ea"/>
              </a:rPr>
              <a:t>智能化引领行业，构建“</a:t>
            </a:r>
            <a:r>
              <a:rPr lang="en-US" altLang="zh-CN" sz="2800" b="1" dirty="0">
                <a:effectLst/>
                <a:sym typeface="+mn-ea"/>
              </a:rPr>
              <a:t>1+5+N</a:t>
            </a:r>
            <a:r>
              <a:rPr lang="zh-CN" altLang="en-US" sz="2800" b="1" dirty="0">
                <a:effectLst/>
                <a:sym typeface="+mn-ea"/>
              </a:rPr>
              <a:t>”制造体系，标准化协同</a:t>
            </a:r>
            <a:endParaRPr lang="en-US" altLang="zh-CN" sz="2800" b="1" dirty="0">
              <a:effectLst/>
            </a:endParaRPr>
          </a:p>
          <a:p>
            <a:pPr algn="l">
              <a:lnSpc>
                <a:spcPct val="150000"/>
              </a:lnSpc>
            </a:pPr>
            <a:endParaRPr lang="zh-CN" altLang="en-US"/>
          </a:p>
        </p:txBody>
      </p:sp>
      <p:cxnSp>
        <p:nvCxnSpPr>
          <p:cNvPr id="12" name="直接连接符 11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图片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9188451" cy="1028699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智能化引领行业，建立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“1+5+N”</a:t>
            </a:r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生产体系，标准化生产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553565" y="6249920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14</a:t>
            </a:fld>
            <a:endParaRPr lang="zh-CN" altLang="en-US"/>
          </a:p>
        </p:txBody>
      </p:sp>
      <p:cxnSp>
        <p:nvCxnSpPr>
          <p:cNvPr id="5" name="直接连接符 4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加工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5</a:t>
            </a:fld>
            <a:endParaRPr lang="zh-CN" altLang="en-US"/>
          </a:p>
        </p:txBody>
      </p:sp>
      <p:cxnSp>
        <p:nvCxnSpPr>
          <p:cNvPr id="5" name="直接连接符 4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食品安全综合质量管理体系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t>16</a:t>
            </a:fld>
            <a:endParaRPr lang="zh-CN" altLang="en-US"/>
          </a:p>
        </p:txBody>
      </p:sp>
      <p:cxnSp>
        <p:nvCxnSpPr>
          <p:cNvPr id="5" name="直接连接符 4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图片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sp>
        <p:nvSpPr>
          <p:cNvPr id="34" name="page-quality_48571"/>
          <p:cNvSpPr>
            <a:spLocks noChangeAspect="1"/>
          </p:cNvSpPr>
          <p:nvPr/>
        </p:nvSpPr>
        <p:spPr bwMode="auto">
          <a:xfrm>
            <a:off x="8331210" y="2920679"/>
            <a:ext cx="565298" cy="564443"/>
          </a:xfrm>
          <a:custGeom>
            <a:avLst/>
            <a:gdLst>
              <a:gd name="connsiteX0" fmla="*/ 392880 w 587787"/>
              <a:gd name="connsiteY0" fmla="*/ 161471 h 586899"/>
              <a:gd name="connsiteX1" fmla="*/ 466659 w 587787"/>
              <a:gd name="connsiteY1" fmla="*/ 161471 h 586899"/>
              <a:gd name="connsiteX2" fmla="*/ 251471 w 587787"/>
              <a:gd name="connsiteY2" fmla="*/ 425428 h 586899"/>
              <a:gd name="connsiteX3" fmla="*/ 121128 w 587787"/>
              <a:gd name="connsiteY3" fmla="*/ 252935 h 586899"/>
              <a:gd name="connsiteX4" fmla="*/ 193062 w 587787"/>
              <a:gd name="connsiteY4" fmla="*/ 252935 h 586899"/>
              <a:gd name="connsiteX5" fmla="*/ 251471 w 587787"/>
              <a:gd name="connsiteY5" fmla="*/ 324756 h 586899"/>
              <a:gd name="connsiteX6" fmla="*/ 330784 w 587787"/>
              <a:gd name="connsiteY6" fmla="*/ 64461 h 586899"/>
              <a:gd name="connsiteX7" fmla="*/ 292049 w 587787"/>
              <a:gd name="connsiteY7" fmla="*/ 100681 h 586899"/>
              <a:gd name="connsiteX8" fmla="*/ 257003 w 587787"/>
              <a:gd name="connsiteY8" fmla="*/ 119099 h 586899"/>
              <a:gd name="connsiteX9" fmla="*/ 100834 w 587787"/>
              <a:gd name="connsiteY9" fmla="*/ 119099 h 586899"/>
              <a:gd name="connsiteX10" fmla="*/ 64558 w 587787"/>
              <a:gd name="connsiteY10" fmla="*/ 155933 h 586899"/>
              <a:gd name="connsiteX11" fmla="*/ 64558 w 587787"/>
              <a:gd name="connsiteY11" fmla="*/ 485604 h 586899"/>
              <a:gd name="connsiteX12" fmla="*/ 100834 w 587787"/>
              <a:gd name="connsiteY12" fmla="*/ 522438 h 586899"/>
              <a:gd name="connsiteX13" fmla="*/ 486338 w 587787"/>
              <a:gd name="connsiteY13" fmla="*/ 522438 h 586899"/>
              <a:gd name="connsiteX14" fmla="*/ 523229 w 587787"/>
              <a:gd name="connsiteY14" fmla="*/ 485604 h 586899"/>
              <a:gd name="connsiteX15" fmla="*/ 523229 w 587787"/>
              <a:gd name="connsiteY15" fmla="*/ 100681 h 586899"/>
              <a:gd name="connsiteX16" fmla="*/ 486338 w 587787"/>
              <a:gd name="connsiteY16" fmla="*/ 64461 h 586899"/>
              <a:gd name="connsiteX17" fmla="*/ 205971 w 587787"/>
              <a:gd name="connsiteY17" fmla="*/ 38676 h 586899"/>
              <a:gd name="connsiteX18" fmla="*/ 183837 w 587787"/>
              <a:gd name="connsiteY18" fmla="*/ 60777 h 586899"/>
              <a:gd name="connsiteX19" fmla="*/ 205971 w 587787"/>
              <a:gd name="connsiteY19" fmla="*/ 82264 h 586899"/>
              <a:gd name="connsiteX20" fmla="*/ 227491 w 587787"/>
              <a:gd name="connsiteY20" fmla="*/ 60777 h 586899"/>
              <a:gd name="connsiteX21" fmla="*/ 205971 w 587787"/>
              <a:gd name="connsiteY21" fmla="*/ 38676 h 586899"/>
              <a:gd name="connsiteX22" fmla="*/ 143258 w 587787"/>
              <a:gd name="connsiteY22" fmla="*/ 38676 h 586899"/>
              <a:gd name="connsiteX23" fmla="*/ 121123 w 587787"/>
              <a:gd name="connsiteY23" fmla="*/ 60777 h 586899"/>
              <a:gd name="connsiteX24" fmla="*/ 143258 w 587787"/>
              <a:gd name="connsiteY24" fmla="*/ 82264 h 586899"/>
              <a:gd name="connsiteX25" fmla="*/ 165392 w 587787"/>
              <a:gd name="connsiteY25" fmla="*/ 60777 h 586899"/>
              <a:gd name="connsiteX26" fmla="*/ 143258 w 587787"/>
              <a:gd name="connsiteY26" fmla="*/ 38676 h 586899"/>
              <a:gd name="connsiteX27" fmla="*/ 82389 w 587787"/>
              <a:gd name="connsiteY27" fmla="*/ 38676 h 586899"/>
              <a:gd name="connsiteX28" fmla="*/ 60869 w 587787"/>
              <a:gd name="connsiteY28" fmla="*/ 60777 h 586899"/>
              <a:gd name="connsiteX29" fmla="*/ 82389 w 587787"/>
              <a:gd name="connsiteY29" fmla="*/ 82264 h 586899"/>
              <a:gd name="connsiteX30" fmla="*/ 104523 w 587787"/>
              <a:gd name="connsiteY30" fmla="*/ 60777 h 586899"/>
              <a:gd name="connsiteX31" fmla="*/ 82389 w 587787"/>
              <a:gd name="connsiteY31" fmla="*/ 38676 h 586899"/>
              <a:gd name="connsiteX32" fmla="*/ 55336 w 587787"/>
              <a:gd name="connsiteY32" fmla="*/ 0 h 586899"/>
              <a:gd name="connsiteX33" fmla="*/ 532451 w 587787"/>
              <a:gd name="connsiteY33" fmla="*/ 0 h 586899"/>
              <a:gd name="connsiteX34" fmla="*/ 587787 w 587787"/>
              <a:gd name="connsiteY34" fmla="*/ 55252 h 586899"/>
              <a:gd name="connsiteX35" fmla="*/ 587787 w 587787"/>
              <a:gd name="connsiteY35" fmla="*/ 531647 h 586899"/>
              <a:gd name="connsiteX36" fmla="*/ 532451 w 587787"/>
              <a:gd name="connsiteY36" fmla="*/ 586899 h 586899"/>
              <a:gd name="connsiteX37" fmla="*/ 55336 w 587787"/>
              <a:gd name="connsiteY37" fmla="*/ 586899 h 586899"/>
              <a:gd name="connsiteX38" fmla="*/ 0 w 587787"/>
              <a:gd name="connsiteY38" fmla="*/ 531647 h 586899"/>
              <a:gd name="connsiteX39" fmla="*/ 0 w 587787"/>
              <a:gd name="connsiteY39" fmla="*/ 55252 h 586899"/>
              <a:gd name="connsiteX40" fmla="*/ 55336 w 587787"/>
              <a:gd name="connsiteY40" fmla="*/ 0 h 586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87787" h="586899">
                <a:moveTo>
                  <a:pt x="392880" y="161471"/>
                </a:moveTo>
                <a:lnTo>
                  <a:pt x="466659" y="161471"/>
                </a:lnTo>
                <a:lnTo>
                  <a:pt x="251471" y="425428"/>
                </a:lnTo>
                <a:lnTo>
                  <a:pt x="121128" y="252935"/>
                </a:lnTo>
                <a:lnTo>
                  <a:pt x="193062" y="252935"/>
                </a:lnTo>
                <a:lnTo>
                  <a:pt x="251471" y="324756"/>
                </a:lnTo>
                <a:close/>
                <a:moveTo>
                  <a:pt x="330784" y="64461"/>
                </a:moveTo>
                <a:cubicBezTo>
                  <a:pt x="310494" y="64461"/>
                  <a:pt x="292049" y="74897"/>
                  <a:pt x="292049" y="100681"/>
                </a:cubicBezTo>
                <a:cubicBezTo>
                  <a:pt x="292049" y="119099"/>
                  <a:pt x="293894" y="119099"/>
                  <a:pt x="257003" y="119099"/>
                </a:cubicBezTo>
                <a:lnTo>
                  <a:pt x="100834" y="119099"/>
                </a:lnTo>
                <a:cubicBezTo>
                  <a:pt x="80544" y="119099"/>
                  <a:pt x="64558" y="135674"/>
                  <a:pt x="64558" y="155933"/>
                </a:cubicBezTo>
                <a:lnTo>
                  <a:pt x="64558" y="485604"/>
                </a:lnTo>
                <a:cubicBezTo>
                  <a:pt x="64558" y="505863"/>
                  <a:pt x="80544" y="522438"/>
                  <a:pt x="100834" y="522438"/>
                </a:cubicBezTo>
                <a:lnTo>
                  <a:pt x="486338" y="522438"/>
                </a:lnTo>
                <a:cubicBezTo>
                  <a:pt x="506628" y="522438"/>
                  <a:pt x="523229" y="505863"/>
                  <a:pt x="523229" y="485604"/>
                </a:cubicBezTo>
                <a:lnTo>
                  <a:pt x="523229" y="100681"/>
                </a:lnTo>
                <a:cubicBezTo>
                  <a:pt x="523229" y="80422"/>
                  <a:pt x="506628" y="64461"/>
                  <a:pt x="486338" y="64461"/>
                </a:cubicBezTo>
                <a:close/>
                <a:moveTo>
                  <a:pt x="205971" y="38676"/>
                </a:moveTo>
                <a:cubicBezTo>
                  <a:pt x="193060" y="38676"/>
                  <a:pt x="183837" y="49727"/>
                  <a:pt x="183837" y="60777"/>
                </a:cubicBezTo>
                <a:cubicBezTo>
                  <a:pt x="183837" y="71214"/>
                  <a:pt x="193060" y="82264"/>
                  <a:pt x="205971" y="82264"/>
                </a:cubicBezTo>
                <a:cubicBezTo>
                  <a:pt x="218268" y="82264"/>
                  <a:pt x="227491" y="73055"/>
                  <a:pt x="227491" y="60777"/>
                </a:cubicBezTo>
                <a:cubicBezTo>
                  <a:pt x="227491" y="47885"/>
                  <a:pt x="216424" y="38676"/>
                  <a:pt x="205971" y="38676"/>
                </a:cubicBezTo>
                <a:close/>
                <a:moveTo>
                  <a:pt x="143258" y="38676"/>
                </a:moveTo>
                <a:cubicBezTo>
                  <a:pt x="132191" y="38676"/>
                  <a:pt x="121123" y="47885"/>
                  <a:pt x="121123" y="60777"/>
                </a:cubicBezTo>
                <a:cubicBezTo>
                  <a:pt x="121123" y="73055"/>
                  <a:pt x="130346" y="82264"/>
                  <a:pt x="143258" y="82264"/>
                </a:cubicBezTo>
                <a:cubicBezTo>
                  <a:pt x="156169" y="82264"/>
                  <a:pt x="165392" y="73055"/>
                  <a:pt x="165392" y="60777"/>
                </a:cubicBezTo>
                <a:cubicBezTo>
                  <a:pt x="165392" y="47885"/>
                  <a:pt x="154325" y="38676"/>
                  <a:pt x="143258" y="38676"/>
                </a:cubicBezTo>
                <a:close/>
                <a:moveTo>
                  <a:pt x="82389" y="38676"/>
                </a:moveTo>
                <a:cubicBezTo>
                  <a:pt x="71321" y="38676"/>
                  <a:pt x="60869" y="47885"/>
                  <a:pt x="60869" y="60777"/>
                </a:cubicBezTo>
                <a:cubicBezTo>
                  <a:pt x="60869" y="73055"/>
                  <a:pt x="71321" y="82264"/>
                  <a:pt x="82389" y="82264"/>
                </a:cubicBezTo>
                <a:cubicBezTo>
                  <a:pt x="95300" y="82264"/>
                  <a:pt x="104523" y="73055"/>
                  <a:pt x="104523" y="60777"/>
                </a:cubicBezTo>
                <a:cubicBezTo>
                  <a:pt x="104523" y="47885"/>
                  <a:pt x="93456" y="38676"/>
                  <a:pt x="82389" y="38676"/>
                </a:cubicBezTo>
                <a:close/>
                <a:moveTo>
                  <a:pt x="55336" y="0"/>
                </a:moveTo>
                <a:lnTo>
                  <a:pt x="532451" y="0"/>
                </a:lnTo>
                <a:cubicBezTo>
                  <a:pt x="563808" y="0"/>
                  <a:pt x="587787" y="23943"/>
                  <a:pt x="587787" y="55252"/>
                </a:cubicBezTo>
                <a:lnTo>
                  <a:pt x="587787" y="531647"/>
                </a:lnTo>
                <a:cubicBezTo>
                  <a:pt x="587787" y="562956"/>
                  <a:pt x="563808" y="586899"/>
                  <a:pt x="532451" y="586899"/>
                </a:cubicBezTo>
                <a:lnTo>
                  <a:pt x="55336" y="586899"/>
                </a:lnTo>
                <a:cubicBezTo>
                  <a:pt x="23979" y="586899"/>
                  <a:pt x="0" y="562956"/>
                  <a:pt x="0" y="531647"/>
                </a:cubicBezTo>
                <a:lnTo>
                  <a:pt x="0" y="55252"/>
                </a:lnTo>
                <a:cubicBezTo>
                  <a:pt x="0" y="23943"/>
                  <a:pt x="23979" y="0"/>
                  <a:pt x="5533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  <p:grpSp>
        <p:nvGrpSpPr>
          <p:cNvPr id="6" name="组合 5"/>
          <p:cNvGrpSpPr/>
          <p:nvPr/>
        </p:nvGrpSpPr>
        <p:grpSpPr>
          <a:xfrm>
            <a:off x="1738561" y="5844073"/>
            <a:ext cx="3164068" cy="745352"/>
            <a:chOff x="7196247" y="5289893"/>
            <a:chExt cx="4722536" cy="1112478"/>
          </a:xfrm>
        </p:grpSpPr>
        <p:pic>
          <p:nvPicPr>
            <p:cNvPr id="31" name="Picture 2" descr="C:\Users\xuzhiyuan\Desktop\201703150936515525054.jpg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751944" y="5292982"/>
              <a:ext cx="1166839" cy="1109389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32" name="Picture 7" descr="C:\Users\xuzhiyuan\Desktop\t01f5b5322485c28a81.jpg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196247" y="5289893"/>
              <a:ext cx="936924" cy="1067039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33" name="Picture 8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034124" y="5425662"/>
              <a:ext cx="1503971" cy="814800"/>
            </a:xfrm>
            <a:prstGeom prst="rect">
              <a:avLst/>
            </a:prstGeom>
            <a:noFill/>
            <a:ln w="9525">
              <a:noFill/>
            </a:ln>
          </p:spPr>
        </p:pic>
        <p:pic>
          <p:nvPicPr>
            <p:cNvPr id="35" name="图片 34" descr="t011aea5dd97e3fc33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9602748" y="5418857"/>
              <a:ext cx="1084543" cy="828410"/>
            </a:xfrm>
            <a:prstGeom prst="rect">
              <a:avLst/>
            </a:prstGeom>
          </p:spPr>
        </p:pic>
      </p:grpSp>
      <p:grpSp>
        <p:nvGrpSpPr>
          <p:cNvPr id="39" name="组合 38"/>
          <p:cNvGrpSpPr/>
          <p:nvPr/>
        </p:nvGrpSpPr>
        <p:grpSpPr>
          <a:xfrm>
            <a:off x="676271" y="1069529"/>
            <a:ext cx="10844216" cy="4953601"/>
            <a:chOff x="1405837" y="1508787"/>
            <a:chExt cx="9403573" cy="4295520"/>
          </a:xfrm>
        </p:grpSpPr>
        <p:grpSp>
          <p:nvGrpSpPr>
            <p:cNvPr id="40" name="Group 3"/>
            <p:cNvGrpSpPr/>
            <p:nvPr/>
          </p:nvGrpSpPr>
          <p:grpSpPr bwMode="auto">
            <a:xfrm>
              <a:off x="3883236" y="1508787"/>
              <a:ext cx="4425529" cy="4295520"/>
              <a:chOff x="2244" y="1767"/>
              <a:chExt cx="2029" cy="2029"/>
            </a:xfrm>
          </p:grpSpPr>
          <p:sp>
            <p:nvSpPr>
              <p:cNvPr id="65" name="Freeform 4"/>
              <p:cNvSpPr/>
              <p:nvPr/>
            </p:nvSpPr>
            <p:spPr bwMode="blackWhite">
              <a:xfrm>
                <a:off x="2366" y="1767"/>
                <a:ext cx="1057" cy="900"/>
              </a:xfrm>
              <a:custGeom>
                <a:avLst/>
                <a:gdLst>
                  <a:gd name="T0" fmla="*/ 455 w 1057"/>
                  <a:gd name="T1" fmla="*/ 879 h 900"/>
                  <a:gd name="T2" fmla="*/ 471 w 1057"/>
                  <a:gd name="T3" fmla="*/ 838 h 900"/>
                  <a:gd name="T4" fmla="*/ 490 w 1057"/>
                  <a:gd name="T5" fmla="*/ 799 h 900"/>
                  <a:gd name="T6" fmla="*/ 514 w 1057"/>
                  <a:gd name="T7" fmla="*/ 762 h 900"/>
                  <a:gd name="T8" fmla="*/ 541 w 1057"/>
                  <a:gd name="T9" fmla="*/ 728 h 900"/>
                  <a:gd name="T10" fmla="*/ 570 w 1057"/>
                  <a:gd name="T11" fmla="*/ 696 h 900"/>
                  <a:gd name="T12" fmla="*/ 603 w 1057"/>
                  <a:gd name="T13" fmla="*/ 667 h 900"/>
                  <a:gd name="T14" fmla="*/ 639 w 1057"/>
                  <a:gd name="T15" fmla="*/ 642 h 900"/>
                  <a:gd name="T16" fmla="*/ 676 w 1057"/>
                  <a:gd name="T17" fmla="*/ 621 h 900"/>
                  <a:gd name="T18" fmla="*/ 713 w 1057"/>
                  <a:gd name="T19" fmla="*/ 605 h 900"/>
                  <a:gd name="T20" fmla="*/ 753 w 1057"/>
                  <a:gd name="T21" fmla="*/ 591 h 900"/>
                  <a:gd name="T22" fmla="*/ 793 w 1057"/>
                  <a:gd name="T23" fmla="*/ 581 h 900"/>
                  <a:gd name="T24" fmla="*/ 834 w 1057"/>
                  <a:gd name="T25" fmla="*/ 575 h 900"/>
                  <a:gd name="T26" fmla="*/ 833 w 1057"/>
                  <a:gd name="T27" fmla="*/ 711 h 900"/>
                  <a:gd name="T28" fmla="*/ 1056 w 1057"/>
                  <a:gd name="T29" fmla="*/ 374 h 900"/>
                  <a:gd name="T30" fmla="*/ 818 w 1057"/>
                  <a:gd name="T31" fmla="*/ 0 h 900"/>
                  <a:gd name="T32" fmla="*/ 819 w 1057"/>
                  <a:gd name="T33" fmla="*/ 137 h 900"/>
                  <a:gd name="T34" fmla="*/ 757 w 1057"/>
                  <a:gd name="T35" fmla="*/ 143 h 900"/>
                  <a:gd name="T36" fmla="*/ 694 w 1057"/>
                  <a:gd name="T37" fmla="*/ 154 h 900"/>
                  <a:gd name="T38" fmla="*/ 634 w 1057"/>
                  <a:gd name="T39" fmla="*/ 168 h 900"/>
                  <a:gd name="T40" fmla="*/ 574 w 1057"/>
                  <a:gd name="T41" fmla="*/ 188 h 900"/>
                  <a:gd name="T42" fmla="*/ 516 w 1057"/>
                  <a:gd name="T43" fmla="*/ 211 h 900"/>
                  <a:gd name="T44" fmla="*/ 460 w 1057"/>
                  <a:gd name="T45" fmla="*/ 238 h 900"/>
                  <a:gd name="T46" fmla="*/ 405 w 1057"/>
                  <a:gd name="T47" fmla="*/ 270 h 900"/>
                  <a:gd name="T48" fmla="*/ 352 w 1057"/>
                  <a:gd name="T49" fmla="*/ 306 h 900"/>
                  <a:gd name="T50" fmla="*/ 302 w 1057"/>
                  <a:gd name="T51" fmla="*/ 346 h 900"/>
                  <a:gd name="T52" fmla="*/ 255 w 1057"/>
                  <a:gd name="T53" fmla="*/ 390 h 900"/>
                  <a:gd name="T54" fmla="*/ 211 w 1057"/>
                  <a:gd name="T55" fmla="*/ 437 h 900"/>
                  <a:gd name="T56" fmla="*/ 170 w 1057"/>
                  <a:gd name="T57" fmla="*/ 486 h 900"/>
                  <a:gd name="T58" fmla="*/ 134 w 1057"/>
                  <a:gd name="T59" fmla="*/ 539 h 900"/>
                  <a:gd name="T60" fmla="*/ 101 w 1057"/>
                  <a:gd name="T61" fmla="*/ 595 h 900"/>
                  <a:gd name="T62" fmla="*/ 72 w 1057"/>
                  <a:gd name="T63" fmla="*/ 653 h 900"/>
                  <a:gd name="T64" fmla="*/ 47 w 1057"/>
                  <a:gd name="T65" fmla="*/ 711 h 900"/>
                  <a:gd name="T66" fmla="*/ 27 w 1057"/>
                  <a:gd name="T67" fmla="*/ 773 h 900"/>
                  <a:gd name="T68" fmla="*/ 11 w 1057"/>
                  <a:gd name="T69" fmla="*/ 835 h 900"/>
                  <a:gd name="T70" fmla="*/ 0 w 1057"/>
                  <a:gd name="T71" fmla="*/ 899 h 900"/>
                  <a:gd name="T72" fmla="*/ 238 w 1057"/>
                  <a:gd name="T73" fmla="*/ 741 h 900"/>
                  <a:gd name="T74" fmla="*/ 455 w 1057"/>
                  <a:gd name="T75" fmla="*/ 879 h 9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057" h="900">
                    <a:moveTo>
                      <a:pt x="455" y="879"/>
                    </a:moveTo>
                    <a:lnTo>
                      <a:pt x="471" y="838"/>
                    </a:lnTo>
                    <a:lnTo>
                      <a:pt x="490" y="799"/>
                    </a:lnTo>
                    <a:lnTo>
                      <a:pt x="514" y="762"/>
                    </a:lnTo>
                    <a:lnTo>
                      <a:pt x="541" y="728"/>
                    </a:lnTo>
                    <a:lnTo>
                      <a:pt x="570" y="696"/>
                    </a:lnTo>
                    <a:lnTo>
                      <a:pt x="603" y="667"/>
                    </a:lnTo>
                    <a:lnTo>
                      <a:pt x="639" y="642"/>
                    </a:lnTo>
                    <a:lnTo>
                      <a:pt x="676" y="621"/>
                    </a:lnTo>
                    <a:lnTo>
                      <a:pt x="713" y="605"/>
                    </a:lnTo>
                    <a:lnTo>
                      <a:pt x="753" y="591"/>
                    </a:lnTo>
                    <a:lnTo>
                      <a:pt x="793" y="581"/>
                    </a:lnTo>
                    <a:lnTo>
                      <a:pt x="834" y="575"/>
                    </a:lnTo>
                    <a:lnTo>
                      <a:pt x="833" y="711"/>
                    </a:lnTo>
                    <a:lnTo>
                      <a:pt x="1056" y="374"/>
                    </a:lnTo>
                    <a:lnTo>
                      <a:pt x="818" y="0"/>
                    </a:lnTo>
                    <a:lnTo>
                      <a:pt x="819" y="137"/>
                    </a:lnTo>
                    <a:lnTo>
                      <a:pt x="757" y="143"/>
                    </a:lnTo>
                    <a:lnTo>
                      <a:pt x="694" y="154"/>
                    </a:lnTo>
                    <a:lnTo>
                      <a:pt x="634" y="168"/>
                    </a:lnTo>
                    <a:lnTo>
                      <a:pt x="574" y="188"/>
                    </a:lnTo>
                    <a:lnTo>
                      <a:pt x="516" y="211"/>
                    </a:lnTo>
                    <a:lnTo>
                      <a:pt x="460" y="238"/>
                    </a:lnTo>
                    <a:lnTo>
                      <a:pt x="405" y="270"/>
                    </a:lnTo>
                    <a:lnTo>
                      <a:pt x="352" y="306"/>
                    </a:lnTo>
                    <a:lnTo>
                      <a:pt x="302" y="346"/>
                    </a:lnTo>
                    <a:lnTo>
                      <a:pt x="255" y="390"/>
                    </a:lnTo>
                    <a:lnTo>
                      <a:pt x="211" y="437"/>
                    </a:lnTo>
                    <a:lnTo>
                      <a:pt x="170" y="486"/>
                    </a:lnTo>
                    <a:lnTo>
                      <a:pt x="134" y="539"/>
                    </a:lnTo>
                    <a:lnTo>
                      <a:pt x="101" y="595"/>
                    </a:lnTo>
                    <a:lnTo>
                      <a:pt x="72" y="653"/>
                    </a:lnTo>
                    <a:lnTo>
                      <a:pt x="47" y="711"/>
                    </a:lnTo>
                    <a:lnTo>
                      <a:pt x="27" y="773"/>
                    </a:lnTo>
                    <a:lnTo>
                      <a:pt x="11" y="835"/>
                    </a:lnTo>
                    <a:lnTo>
                      <a:pt x="0" y="899"/>
                    </a:lnTo>
                    <a:lnTo>
                      <a:pt x="238" y="741"/>
                    </a:lnTo>
                    <a:lnTo>
                      <a:pt x="455" y="879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rnd" cmpd="sng">
                <a:noFill/>
                <a:prstDash val="solid"/>
                <a:rou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endParaRPr lang="zh-CN" altLang="en-US" sz="2450"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66" name="Freeform 5"/>
              <p:cNvSpPr/>
              <p:nvPr/>
            </p:nvSpPr>
            <p:spPr bwMode="blackWhite">
              <a:xfrm>
                <a:off x="3073" y="2892"/>
                <a:ext cx="1033" cy="904"/>
              </a:xfrm>
              <a:custGeom>
                <a:avLst/>
                <a:gdLst>
                  <a:gd name="T0" fmla="*/ 585 w 1033"/>
                  <a:gd name="T1" fmla="*/ 1 h 904"/>
                  <a:gd name="T2" fmla="*/ 573 w 1033"/>
                  <a:gd name="T3" fmla="*/ 41 h 904"/>
                  <a:gd name="T4" fmla="*/ 556 w 1033"/>
                  <a:gd name="T5" fmla="*/ 78 h 904"/>
                  <a:gd name="T6" fmla="*/ 537 w 1033"/>
                  <a:gd name="T7" fmla="*/ 116 h 904"/>
                  <a:gd name="T8" fmla="*/ 514 w 1033"/>
                  <a:gd name="T9" fmla="*/ 150 h 904"/>
                  <a:gd name="T10" fmla="*/ 488 w 1033"/>
                  <a:gd name="T11" fmla="*/ 182 h 904"/>
                  <a:gd name="T12" fmla="*/ 459 w 1033"/>
                  <a:gd name="T13" fmla="*/ 212 h 904"/>
                  <a:gd name="T14" fmla="*/ 427 w 1033"/>
                  <a:gd name="T15" fmla="*/ 239 h 904"/>
                  <a:gd name="T16" fmla="*/ 393 w 1033"/>
                  <a:gd name="T17" fmla="*/ 262 h 904"/>
                  <a:gd name="T18" fmla="*/ 356 w 1033"/>
                  <a:gd name="T19" fmla="*/ 283 h 904"/>
                  <a:gd name="T20" fmla="*/ 317 w 1033"/>
                  <a:gd name="T21" fmla="*/ 301 h 904"/>
                  <a:gd name="T22" fmla="*/ 277 w 1033"/>
                  <a:gd name="T23" fmla="*/ 314 h 904"/>
                  <a:gd name="T24" fmla="*/ 236 w 1033"/>
                  <a:gd name="T25" fmla="*/ 323 h 904"/>
                  <a:gd name="T26" fmla="*/ 235 w 1033"/>
                  <a:gd name="T27" fmla="*/ 187 h 904"/>
                  <a:gd name="T28" fmla="*/ 159 w 1033"/>
                  <a:gd name="T29" fmla="*/ 298 h 904"/>
                  <a:gd name="T30" fmla="*/ 80 w 1033"/>
                  <a:gd name="T31" fmla="*/ 409 h 904"/>
                  <a:gd name="T32" fmla="*/ 0 w 1033"/>
                  <a:gd name="T33" fmla="*/ 517 h 904"/>
                  <a:gd name="T34" fmla="*/ 236 w 1033"/>
                  <a:gd name="T35" fmla="*/ 903 h 904"/>
                  <a:gd name="T36" fmla="*/ 236 w 1033"/>
                  <a:gd name="T37" fmla="*/ 766 h 904"/>
                  <a:gd name="T38" fmla="*/ 295 w 1033"/>
                  <a:gd name="T39" fmla="*/ 759 h 904"/>
                  <a:gd name="T40" fmla="*/ 353 w 1033"/>
                  <a:gd name="T41" fmla="*/ 747 h 904"/>
                  <a:gd name="T42" fmla="*/ 411 w 1033"/>
                  <a:gd name="T43" fmla="*/ 733 h 904"/>
                  <a:gd name="T44" fmla="*/ 467 w 1033"/>
                  <a:gd name="T45" fmla="*/ 713 h 904"/>
                  <a:gd name="T46" fmla="*/ 522 w 1033"/>
                  <a:gd name="T47" fmla="*/ 691 h 904"/>
                  <a:gd name="T48" fmla="*/ 575 w 1033"/>
                  <a:gd name="T49" fmla="*/ 665 h 904"/>
                  <a:gd name="T50" fmla="*/ 626 w 1033"/>
                  <a:gd name="T51" fmla="*/ 635 h 904"/>
                  <a:gd name="T52" fmla="*/ 676 w 1033"/>
                  <a:gd name="T53" fmla="*/ 601 h 904"/>
                  <a:gd name="T54" fmla="*/ 724 w 1033"/>
                  <a:gd name="T55" fmla="*/ 564 h 904"/>
                  <a:gd name="T56" fmla="*/ 768 w 1033"/>
                  <a:gd name="T57" fmla="*/ 525 h 904"/>
                  <a:gd name="T58" fmla="*/ 811 w 1033"/>
                  <a:gd name="T59" fmla="*/ 481 h 904"/>
                  <a:gd name="T60" fmla="*/ 849 w 1033"/>
                  <a:gd name="T61" fmla="*/ 435 h 904"/>
                  <a:gd name="T62" fmla="*/ 884 w 1033"/>
                  <a:gd name="T63" fmla="*/ 387 h 904"/>
                  <a:gd name="T64" fmla="*/ 916 w 1033"/>
                  <a:gd name="T65" fmla="*/ 337 h 904"/>
                  <a:gd name="T66" fmla="*/ 945 w 1033"/>
                  <a:gd name="T67" fmla="*/ 284 h 904"/>
                  <a:gd name="T68" fmla="*/ 970 w 1033"/>
                  <a:gd name="T69" fmla="*/ 231 h 904"/>
                  <a:gd name="T70" fmla="*/ 991 w 1033"/>
                  <a:gd name="T71" fmla="*/ 174 h 904"/>
                  <a:gd name="T72" fmla="*/ 1009 w 1033"/>
                  <a:gd name="T73" fmla="*/ 117 h 904"/>
                  <a:gd name="T74" fmla="*/ 1023 w 1033"/>
                  <a:gd name="T75" fmla="*/ 58 h 904"/>
                  <a:gd name="T76" fmla="*/ 1032 w 1033"/>
                  <a:gd name="T77" fmla="*/ 0 h 904"/>
                  <a:gd name="T78" fmla="*/ 812 w 1033"/>
                  <a:gd name="T79" fmla="*/ 132 h 904"/>
                  <a:gd name="T80" fmla="*/ 585 w 1033"/>
                  <a:gd name="T81" fmla="*/ 1 h 9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33" h="904">
                    <a:moveTo>
                      <a:pt x="585" y="1"/>
                    </a:moveTo>
                    <a:lnTo>
                      <a:pt x="573" y="41"/>
                    </a:lnTo>
                    <a:lnTo>
                      <a:pt x="556" y="78"/>
                    </a:lnTo>
                    <a:lnTo>
                      <a:pt x="537" y="116"/>
                    </a:lnTo>
                    <a:lnTo>
                      <a:pt x="514" y="150"/>
                    </a:lnTo>
                    <a:lnTo>
                      <a:pt x="488" y="182"/>
                    </a:lnTo>
                    <a:lnTo>
                      <a:pt x="459" y="212"/>
                    </a:lnTo>
                    <a:lnTo>
                      <a:pt x="427" y="239"/>
                    </a:lnTo>
                    <a:lnTo>
                      <a:pt x="393" y="262"/>
                    </a:lnTo>
                    <a:lnTo>
                      <a:pt x="356" y="283"/>
                    </a:lnTo>
                    <a:lnTo>
                      <a:pt x="317" y="301"/>
                    </a:lnTo>
                    <a:lnTo>
                      <a:pt x="277" y="314"/>
                    </a:lnTo>
                    <a:lnTo>
                      <a:pt x="236" y="323"/>
                    </a:lnTo>
                    <a:lnTo>
                      <a:pt x="235" y="187"/>
                    </a:lnTo>
                    <a:lnTo>
                      <a:pt x="159" y="298"/>
                    </a:lnTo>
                    <a:lnTo>
                      <a:pt x="80" y="409"/>
                    </a:lnTo>
                    <a:lnTo>
                      <a:pt x="0" y="517"/>
                    </a:lnTo>
                    <a:lnTo>
                      <a:pt x="236" y="903"/>
                    </a:lnTo>
                    <a:lnTo>
                      <a:pt x="236" y="766"/>
                    </a:lnTo>
                    <a:lnTo>
                      <a:pt x="295" y="759"/>
                    </a:lnTo>
                    <a:lnTo>
                      <a:pt x="353" y="747"/>
                    </a:lnTo>
                    <a:lnTo>
                      <a:pt x="411" y="733"/>
                    </a:lnTo>
                    <a:lnTo>
                      <a:pt x="467" y="713"/>
                    </a:lnTo>
                    <a:lnTo>
                      <a:pt x="522" y="691"/>
                    </a:lnTo>
                    <a:lnTo>
                      <a:pt x="575" y="665"/>
                    </a:lnTo>
                    <a:lnTo>
                      <a:pt x="626" y="635"/>
                    </a:lnTo>
                    <a:lnTo>
                      <a:pt x="676" y="601"/>
                    </a:lnTo>
                    <a:lnTo>
                      <a:pt x="724" y="564"/>
                    </a:lnTo>
                    <a:lnTo>
                      <a:pt x="768" y="525"/>
                    </a:lnTo>
                    <a:lnTo>
                      <a:pt x="811" y="481"/>
                    </a:lnTo>
                    <a:lnTo>
                      <a:pt x="849" y="435"/>
                    </a:lnTo>
                    <a:lnTo>
                      <a:pt x="884" y="387"/>
                    </a:lnTo>
                    <a:lnTo>
                      <a:pt x="916" y="337"/>
                    </a:lnTo>
                    <a:lnTo>
                      <a:pt x="945" y="284"/>
                    </a:lnTo>
                    <a:lnTo>
                      <a:pt x="970" y="231"/>
                    </a:lnTo>
                    <a:lnTo>
                      <a:pt x="991" y="174"/>
                    </a:lnTo>
                    <a:lnTo>
                      <a:pt x="1009" y="117"/>
                    </a:lnTo>
                    <a:lnTo>
                      <a:pt x="1023" y="58"/>
                    </a:lnTo>
                    <a:lnTo>
                      <a:pt x="1032" y="0"/>
                    </a:lnTo>
                    <a:lnTo>
                      <a:pt x="812" y="132"/>
                    </a:lnTo>
                    <a:lnTo>
                      <a:pt x="585" y="1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rnd" cmpd="sng">
                <a:noFill/>
                <a:prstDash val="solid"/>
                <a:rou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endParaRPr lang="zh-CN" altLang="en-US" sz="2450"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67" name="Freeform 6"/>
              <p:cNvSpPr/>
              <p:nvPr/>
            </p:nvSpPr>
            <p:spPr bwMode="blackWhite">
              <a:xfrm>
                <a:off x="2244" y="2563"/>
                <a:ext cx="930" cy="1075"/>
              </a:xfrm>
              <a:custGeom>
                <a:avLst/>
                <a:gdLst>
                  <a:gd name="T0" fmla="*/ 929 w 930"/>
                  <a:gd name="T1" fmla="*/ 645 h 1075"/>
                  <a:gd name="T2" fmla="*/ 887 w 930"/>
                  <a:gd name="T3" fmla="*/ 634 h 1075"/>
                  <a:gd name="T4" fmla="*/ 847 w 930"/>
                  <a:gd name="T5" fmla="*/ 620 h 1075"/>
                  <a:gd name="T6" fmla="*/ 807 w 930"/>
                  <a:gd name="T7" fmla="*/ 603 h 1075"/>
                  <a:gd name="T8" fmla="*/ 771 w 930"/>
                  <a:gd name="T9" fmla="*/ 582 h 1075"/>
                  <a:gd name="T10" fmla="*/ 735 w 930"/>
                  <a:gd name="T11" fmla="*/ 557 h 1075"/>
                  <a:gd name="T12" fmla="*/ 703 w 930"/>
                  <a:gd name="T13" fmla="*/ 529 h 1075"/>
                  <a:gd name="T14" fmla="*/ 673 w 930"/>
                  <a:gd name="T15" fmla="*/ 497 h 1075"/>
                  <a:gd name="T16" fmla="*/ 648 w 930"/>
                  <a:gd name="T17" fmla="*/ 465 h 1075"/>
                  <a:gd name="T18" fmla="*/ 624 w 930"/>
                  <a:gd name="T19" fmla="*/ 428 h 1075"/>
                  <a:gd name="T20" fmla="*/ 607 w 930"/>
                  <a:gd name="T21" fmla="*/ 398 h 1075"/>
                  <a:gd name="T22" fmla="*/ 594 w 930"/>
                  <a:gd name="T23" fmla="*/ 366 h 1075"/>
                  <a:gd name="T24" fmla="*/ 583 w 930"/>
                  <a:gd name="T25" fmla="*/ 332 h 1075"/>
                  <a:gd name="T26" fmla="*/ 577 w 930"/>
                  <a:gd name="T27" fmla="*/ 298 h 1075"/>
                  <a:gd name="T28" fmla="*/ 575 w 930"/>
                  <a:gd name="T29" fmla="*/ 264 h 1075"/>
                  <a:gd name="T30" fmla="*/ 576 w 930"/>
                  <a:gd name="T31" fmla="*/ 229 h 1075"/>
                  <a:gd name="T32" fmla="*/ 748 w 930"/>
                  <a:gd name="T33" fmla="*/ 229 h 1075"/>
                  <a:gd name="T34" fmla="*/ 360 w 930"/>
                  <a:gd name="T35" fmla="*/ 0 h 1075"/>
                  <a:gd name="T36" fmla="*/ 0 w 930"/>
                  <a:gd name="T37" fmla="*/ 236 h 1075"/>
                  <a:gd name="T38" fmla="*/ 136 w 930"/>
                  <a:gd name="T39" fmla="*/ 237 h 1075"/>
                  <a:gd name="T40" fmla="*/ 141 w 930"/>
                  <a:gd name="T41" fmla="*/ 299 h 1075"/>
                  <a:gd name="T42" fmla="*/ 150 w 930"/>
                  <a:gd name="T43" fmla="*/ 362 h 1075"/>
                  <a:gd name="T44" fmla="*/ 165 w 930"/>
                  <a:gd name="T45" fmla="*/ 422 h 1075"/>
                  <a:gd name="T46" fmla="*/ 182 w 930"/>
                  <a:gd name="T47" fmla="*/ 483 h 1075"/>
                  <a:gd name="T48" fmla="*/ 204 w 930"/>
                  <a:gd name="T49" fmla="*/ 541 h 1075"/>
                  <a:gd name="T50" fmla="*/ 231 w 930"/>
                  <a:gd name="T51" fmla="*/ 598 h 1075"/>
                  <a:gd name="T52" fmla="*/ 262 w 930"/>
                  <a:gd name="T53" fmla="*/ 653 h 1075"/>
                  <a:gd name="T54" fmla="*/ 296 w 930"/>
                  <a:gd name="T55" fmla="*/ 704 h 1075"/>
                  <a:gd name="T56" fmla="*/ 333 w 930"/>
                  <a:gd name="T57" fmla="*/ 752 h 1075"/>
                  <a:gd name="T58" fmla="*/ 374 w 930"/>
                  <a:gd name="T59" fmla="*/ 797 h 1075"/>
                  <a:gd name="T60" fmla="*/ 419 w 930"/>
                  <a:gd name="T61" fmla="*/ 841 h 1075"/>
                  <a:gd name="T62" fmla="*/ 465 w 930"/>
                  <a:gd name="T63" fmla="*/ 880 h 1075"/>
                  <a:gd name="T64" fmla="*/ 514 w 930"/>
                  <a:gd name="T65" fmla="*/ 917 h 1075"/>
                  <a:gd name="T66" fmla="*/ 566 w 930"/>
                  <a:gd name="T67" fmla="*/ 951 h 1075"/>
                  <a:gd name="T68" fmla="*/ 620 w 930"/>
                  <a:gd name="T69" fmla="*/ 980 h 1075"/>
                  <a:gd name="T70" fmla="*/ 675 w 930"/>
                  <a:gd name="T71" fmla="*/ 1007 h 1075"/>
                  <a:gd name="T72" fmla="*/ 732 w 930"/>
                  <a:gd name="T73" fmla="*/ 1029 h 1075"/>
                  <a:gd name="T74" fmla="*/ 790 w 930"/>
                  <a:gd name="T75" fmla="*/ 1048 h 1075"/>
                  <a:gd name="T76" fmla="*/ 849 w 930"/>
                  <a:gd name="T77" fmla="*/ 1062 h 1075"/>
                  <a:gd name="T78" fmla="*/ 910 w 930"/>
                  <a:gd name="T79" fmla="*/ 1074 h 1075"/>
                  <a:gd name="T80" fmla="*/ 772 w 930"/>
                  <a:gd name="T81" fmla="*/ 845 h 1075"/>
                  <a:gd name="T82" fmla="*/ 929 w 930"/>
                  <a:gd name="T83" fmla="*/ 645 h 10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930" h="1075">
                    <a:moveTo>
                      <a:pt x="929" y="645"/>
                    </a:moveTo>
                    <a:lnTo>
                      <a:pt x="887" y="634"/>
                    </a:lnTo>
                    <a:lnTo>
                      <a:pt x="847" y="620"/>
                    </a:lnTo>
                    <a:lnTo>
                      <a:pt x="807" y="603"/>
                    </a:lnTo>
                    <a:lnTo>
                      <a:pt x="771" y="582"/>
                    </a:lnTo>
                    <a:lnTo>
                      <a:pt x="735" y="557"/>
                    </a:lnTo>
                    <a:lnTo>
                      <a:pt x="703" y="529"/>
                    </a:lnTo>
                    <a:lnTo>
                      <a:pt x="673" y="497"/>
                    </a:lnTo>
                    <a:lnTo>
                      <a:pt x="648" y="465"/>
                    </a:lnTo>
                    <a:lnTo>
                      <a:pt x="624" y="428"/>
                    </a:lnTo>
                    <a:lnTo>
                      <a:pt x="607" y="398"/>
                    </a:lnTo>
                    <a:lnTo>
                      <a:pt x="594" y="366"/>
                    </a:lnTo>
                    <a:lnTo>
                      <a:pt x="583" y="332"/>
                    </a:lnTo>
                    <a:lnTo>
                      <a:pt x="577" y="298"/>
                    </a:lnTo>
                    <a:lnTo>
                      <a:pt x="575" y="264"/>
                    </a:lnTo>
                    <a:lnTo>
                      <a:pt x="576" y="229"/>
                    </a:lnTo>
                    <a:lnTo>
                      <a:pt x="748" y="229"/>
                    </a:lnTo>
                    <a:lnTo>
                      <a:pt x="360" y="0"/>
                    </a:lnTo>
                    <a:lnTo>
                      <a:pt x="0" y="236"/>
                    </a:lnTo>
                    <a:lnTo>
                      <a:pt x="136" y="237"/>
                    </a:lnTo>
                    <a:lnTo>
                      <a:pt x="141" y="299"/>
                    </a:lnTo>
                    <a:lnTo>
                      <a:pt x="150" y="362"/>
                    </a:lnTo>
                    <a:lnTo>
                      <a:pt x="165" y="422"/>
                    </a:lnTo>
                    <a:lnTo>
                      <a:pt x="182" y="483"/>
                    </a:lnTo>
                    <a:lnTo>
                      <a:pt x="204" y="541"/>
                    </a:lnTo>
                    <a:lnTo>
                      <a:pt x="231" y="598"/>
                    </a:lnTo>
                    <a:lnTo>
                      <a:pt x="262" y="653"/>
                    </a:lnTo>
                    <a:lnTo>
                      <a:pt x="296" y="704"/>
                    </a:lnTo>
                    <a:lnTo>
                      <a:pt x="333" y="752"/>
                    </a:lnTo>
                    <a:lnTo>
                      <a:pt x="374" y="797"/>
                    </a:lnTo>
                    <a:lnTo>
                      <a:pt x="419" y="841"/>
                    </a:lnTo>
                    <a:lnTo>
                      <a:pt x="465" y="880"/>
                    </a:lnTo>
                    <a:lnTo>
                      <a:pt x="514" y="917"/>
                    </a:lnTo>
                    <a:lnTo>
                      <a:pt x="566" y="951"/>
                    </a:lnTo>
                    <a:lnTo>
                      <a:pt x="620" y="980"/>
                    </a:lnTo>
                    <a:lnTo>
                      <a:pt x="675" y="1007"/>
                    </a:lnTo>
                    <a:lnTo>
                      <a:pt x="732" y="1029"/>
                    </a:lnTo>
                    <a:lnTo>
                      <a:pt x="790" y="1048"/>
                    </a:lnTo>
                    <a:lnTo>
                      <a:pt x="849" y="1062"/>
                    </a:lnTo>
                    <a:lnTo>
                      <a:pt x="910" y="1074"/>
                    </a:lnTo>
                    <a:lnTo>
                      <a:pt x="772" y="845"/>
                    </a:lnTo>
                    <a:lnTo>
                      <a:pt x="929" y="645"/>
                    </a:lnTo>
                  </a:path>
                </a:pathLst>
              </a:custGeom>
              <a:solidFill>
                <a:srgbClr val="00336C"/>
              </a:solidFill>
              <a:ln w="9525" cap="rnd" cmpd="sng">
                <a:solidFill>
                  <a:srgbClr val="008000"/>
                </a:solidFill>
                <a:prstDash val="solid"/>
                <a:rou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endParaRPr lang="zh-CN" altLang="en-US" sz="2450"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68" name="Freeform 7"/>
              <p:cNvSpPr/>
              <p:nvPr/>
            </p:nvSpPr>
            <p:spPr bwMode="blackWhite">
              <a:xfrm>
                <a:off x="3330" y="1909"/>
                <a:ext cx="943" cy="1065"/>
              </a:xfrm>
              <a:custGeom>
                <a:avLst/>
                <a:gdLst>
                  <a:gd name="T0" fmla="*/ 554 w 943"/>
                  <a:gd name="T1" fmla="*/ 1064 h 1065"/>
                  <a:gd name="T2" fmla="*/ 942 w 943"/>
                  <a:gd name="T3" fmla="*/ 840 h 1065"/>
                  <a:gd name="T4" fmla="*/ 781 w 943"/>
                  <a:gd name="T5" fmla="*/ 840 h 1065"/>
                  <a:gd name="T6" fmla="*/ 776 w 943"/>
                  <a:gd name="T7" fmla="*/ 778 h 1065"/>
                  <a:gd name="T8" fmla="*/ 767 w 943"/>
                  <a:gd name="T9" fmla="*/ 716 h 1065"/>
                  <a:gd name="T10" fmla="*/ 754 w 943"/>
                  <a:gd name="T11" fmla="*/ 655 h 1065"/>
                  <a:gd name="T12" fmla="*/ 737 w 943"/>
                  <a:gd name="T13" fmla="*/ 595 h 1065"/>
                  <a:gd name="T14" fmla="*/ 714 w 943"/>
                  <a:gd name="T15" fmla="*/ 536 h 1065"/>
                  <a:gd name="T16" fmla="*/ 688 w 943"/>
                  <a:gd name="T17" fmla="*/ 480 h 1065"/>
                  <a:gd name="T18" fmla="*/ 658 w 943"/>
                  <a:gd name="T19" fmla="*/ 425 h 1065"/>
                  <a:gd name="T20" fmla="*/ 624 w 943"/>
                  <a:gd name="T21" fmla="*/ 372 h 1065"/>
                  <a:gd name="T22" fmla="*/ 586 w 943"/>
                  <a:gd name="T23" fmla="*/ 323 h 1065"/>
                  <a:gd name="T24" fmla="*/ 547 w 943"/>
                  <a:gd name="T25" fmla="*/ 275 h 1065"/>
                  <a:gd name="T26" fmla="*/ 502 w 943"/>
                  <a:gd name="T27" fmla="*/ 232 h 1065"/>
                  <a:gd name="T28" fmla="*/ 455 w 943"/>
                  <a:gd name="T29" fmla="*/ 191 h 1065"/>
                  <a:gd name="T30" fmla="*/ 405 w 943"/>
                  <a:gd name="T31" fmla="*/ 153 h 1065"/>
                  <a:gd name="T32" fmla="*/ 352 w 943"/>
                  <a:gd name="T33" fmla="*/ 120 h 1065"/>
                  <a:gd name="T34" fmla="*/ 298 w 943"/>
                  <a:gd name="T35" fmla="*/ 89 h 1065"/>
                  <a:gd name="T36" fmla="*/ 241 w 943"/>
                  <a:gd name="T37" fmla="*/ 63 h 1065"/>
                  <a:gd name="T38" fmla="*/ 182 w 943"/>
                  <a:gd name="T39" fmla="*/ 41 h 1065"/>
                  <a:gd name="T40" fmla="*/ 122 w 943"/>
                  <a:gd name="T41" fmla="*/ 23 h 1065"/>
                  <a:gd name="T42" fmla="*/ 61 w 943"/>
                  <a:gd name="T43" fmla="*/ 9 h 1065"/>
                  <a:gd name="T44" fmla="*/ 0 w 943"/>
                  <a:gd name="T45" fmla="*/ 0 h 1065"/>
                  <a:gd name="T46" fmla="*/ 137 w 943"/>
                  <a:gd name="T47" fmla="*/ 226 h 1065"/>
                  <a:gd name="T48" fmla="*/ 5 w 943"/>
                  <a:gd name="T49" fmla="*/ 451 h 1065"/>
                  <a:gd name="T50" fmla="*/ 48 w 943"/>
                  <a:gd name="T51" fmla="*/ 465 h 1065"/>
                  <a:gd name="T52" fmla="*/ 90 w 943"/>
                  <a:gd name="T53" fmla="*/ 483 h 1065"/>
                  <a:gd name="T54" fmla="*/ 130 w 943"/>
                  <a:gd name="T55" fmla="*/ 505 h 1065"/>
                  <a:gd name="T56" fmla="*/ 168 w 943"/>
                  <a:gd name="T57" fmla="*/ 531 h 1065"/>
                  <a:gd name="T58" fmla="*/ 202 w 943"/>
                  <a:gd name="T59" fmla="*/ 561 h 1065"/>
                  <a:gd name="T60" fmla="*/ 233 w 943"/>
                  <a:gd name="T61" fmla="*/ 594 h 1065"/>
                  <a:gd name="T62" fmla="*/ 262 w 943"/>
                  <a:gd name="T63" fmla="*/ 629 h 1065"/>
                  <a:gd name="T64" fmla="*/ 285 w 943"/>
                  <a:gd name="T65" fmla="*/ 668 h 1065"/>
                  <a:gd name="T66" fmla="*/ 305 w 943"/>
                  <a:gd name="T67" fmla="*/ 709 h 1065"/>
                  <a:gd name="T68" fmla="*/ 321 w 943"/>
                  <a:gd name="T69" fmla="*/ 751 h 1065"/>
                  <a:gd name="T70" fmla="*/ 333 w 943"/>
                  <a:gd name="T71" fmla="*/ 795 h 1065"/>
                  <a:gd name="T72" fmla="*/ 340 w 943"/>
                  <a:gd name="T73" fmla="*/ 840 h 1065"/>
                  <a:gd name="T74" fmla="*/ 188 w 943"/>
                  <a:gd name="T75" fmla="*/ 841 h 1065"/>
                  <a:gd name="T76" fmla="*/ 554 w 943"/>
                  <a:gd name="T77" fmla="*/ 1064 h 10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43" h="1065">
                    <a:moveTo>
                      <a:pt x="554" y="1064"/>
                    </a:moveTo>
                    <a:lnTo>
                      <a:pt x="942" y="840"/>
                    </a:lnTo>
                    <a:lnTo>
                      <a:pt x="781" y="840"/>
                    </a:lnTo>
                    <a:lnTo>
                      <a:pt x="776" y="778"/>
                    </a:lnTo>
                    <a:lnTo>
                      <a:pt x="767" y="716"/>
                    </a:lnTo>
                    <a:lnTo>
                      <a:pt x="754" y="655"/>
                    </a:lnTo>
                    <a:lnTo>
                      <a:pt x="737" y="595"/>
                    </a:lnTo>
                    <a:lnTo>
                      <a:pt x="714" y="536"/>
                    </a:lnTo>
                    <a:lnTo>
                      <a:pt x="688" y="480"/>
                    </a:lnTo>
                    <a:lnTo>
                      <a:pt x="658" y="425"/>
                    </a:lnTo>
                    <a:lnTo>
                      <a:pt x="624" y="372"/>
                    </a:lnTo>
                    <a:lnTo>
                      <a:pt x="586" y="323"/>
                    </a:lnTo>
                    <a:lnTo>
                      <a:pt x="547" y="275"/>
                    </a:lnTo>
                    <a:lnTo>
                      <a:pt x="502" y="232"/>
                    </a:lnTo>
                    <a:lnTo>
                      <a:pt x="455" y="191"/>
                    </a:lnTo>
                    <a:lnTo>
                      <a:pt x="405" y="153"/>
                    </a:lnTo>
                    <a:lnTo>
                      <a:pt x="352" y="120"/>
                    </a:lnTo>
                    <a:lnTo>
                      <a:pt x="298" y="89"/>
                    </a:lnTo>
                    <a:lnTo>
                      <a:pt x="241" y="63"/>
                    </a:lnTo>
                    <a:lnTo>
                      <a:pt x="182" y="41"/>
                    </a:lnTo>
                    <a:lnTo>
                      <a:pt x="122" y="23"/>
                    </a:lnTo>
                    <a:lnTo>
                      <a:pt x="61" y="9"/>
                    </a:lnTo>
                    <a:lnTo>
                      <a:pt x="0" y="0"/>
                    </a:lnTo>
                    <a:lnTo>
                      <a:pt x="137" y="226"/>
                    </a:lnTo>
                    <a:lnTo>
                      <a:pt x="5" y="451"/>
                    </a:lnTo>
                    <a:lnTo>
                      <a:pt x="48" y="465"/>
                    </a:lnTo>
                    <a:lnTo>
                      <a:pt x="90" y="483"/>
                    </a:lnTo>
                    <a:lnTo>
                      <a:pt x="130" y="505"/>
                    </a:lnTo>
                    <a:lnTo>
                      <a:pt x="168" y="531"/>
                    </a:lnTo>
                    <a:lnTo>
                      <a:pt x="202" y="561"/>
                    </a:lnTo>
                    <a:lnTo>
                      <a:pt x="233" y="594"/>
                    </a:lnTo>
                    <a:lnTo>
                      <a:pt x="262" y="629"/>
                    </a:lnTo>
                    <a:lnTo>
                      <a:pt x="285" y="668"/>
                    </a:lnTo>
                    <a:lnTo>
                      <a:pt x="305" y="709"/>
                    </a:lnTo>
                    <a:lnTo>
                      <a:pt x="321" y="751"/>
                    </a:lnTo>
                    <a:lnTo>
                      <a:pt x="333" y="795"/>
                    </a:lnTo>
                    <a:lnTo>
                      <a:pt x="340" y="840"/>
                    </a:lnTo>
                    <a:lnTo>
                      <a:pt x="188" y="841"/>
                    </a:lnTo>
                    <a:lnTo>
                      <a:pt x="554" y="1064"/>
                    </a:lnTo>
                  </a:path>
                </a:pathLst>
              </a:custGeom>
              <a:solidFill>
                <a:srgbClr val="00336C"/>
              </a:solidFill>
              <a:ln w="9525" cap="rnd" cmpd="sng">
                <a:solidFill>
                  <a:srgbClr val="008000"/>
                </a:solidFill>
                <a:prstDash val="solid"/>
                <a:rou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/>
              <a:lstStyle/>
              <a:p>
                <a:endParaRPr lang="zh-CN" altLang="en-US" sz="2450"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1" name="Rectangle 15"/>
            <p:cNvSpPr>
              <a:spLocks noChangeArrowheads="1"/>
            </p:cNvSpPr>
            <p:nvPr/>
          </p:nvSpPr>
          <p:spPr bwMode="auto">
            <a:xfrm>
              <a:off x="7944515" y="1988841"/>
              <a:ext cx="2864895" cy="10230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1pPr>
              <a:lvl2pPr marL="144780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3pPr>
              <a:lvl4pPr marL="431800" indent="-135255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4pPr>
              <a:lvl5pPr marL="582930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5pPr>
              <a:lvl6pPr marL="1040130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6pPr>
              <a:lvl7pPr marL="1497330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7pPr>
              <a:lvl8pPr marL="1954530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8pPr>
              <a:lvl9pPr marL="2411730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9pPr>
            </a:lstStyle>
            <a:p>
              <a:pPr lvl="1">
                <a:lnSpc>
                  <a:spcPct val="120000"/>
                </a:lnSpc>
              </a:pPr>
              <a:r>
                <a:rPr lang="zh-CN" altLang="en-US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生产管理</a:t>
              </a:r>
            </a:p>
            <a:p>
              <a:pPr lvl="1">
                <a:lnSpc>
                  <a:spcPct val="120000"/>
                </a:lnSpc>
              </a:pPr>
              <a:r>
                <a:rPr lang="zh-CN" altLang="en-US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产品预检测和收货检测</a:t>
              </a:r>
            </a:p>
            <a:p>
              <a:pPr lvl="1">
                <a:lnSpc>
                  <a:spcPct val="120000"/>
                </a:lnSpc>
              </a:pPr>
              <a:r>
                <a:rPr lang="zh-CN" altLang="en-US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批次管理</a:t>
              </a:r>
              <a:endParaRPr lang="en-US" altLang="zh-CN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lvl="1">
                <a:lnSpc>
                  <a:spcPct val="120000"/>
                </a:lnSpc>
              </a:pPr>
              <a:r>
                <a:rPr lang="zh-CN" altLang="en-US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成品检测</a:t>
              </a:r>
              <a:r>
                <a:rPr lang="en-US" altLang="zh-CN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+</a:t>
              </a:r>
              <a:r>
                <a:rPr lang="zh-CN" altLang="en-US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立体冷库</a:t>
              </a:r>
              <a:r>
                <a:rPr lang="en-US" altLang="zh-CN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 </a:t>
              </a:r>
            </a:p>
          </p:txBody>
        </p:sp>
        <p:grpSp>
          <p:nvGrpSpPr>
            <p:cNvPr id="42" name="组合 41"/>
            <p:cNvGrpSpPr/>
            <p:nvPr/>
          </p:nvGrpSpPr>
          <p:grpSpPr>
            <a:xfrm>
              <a:off x="1405837" y="1652803"/>
              <a:ext cx="3730057" cy="1104123"/>
              <a:chOff x="1054377" y="1239602"/>
              <a:chExt cx="2797543" cy="828092"/>
            </a:xfrm>
          </p:grpSpPr>
          <p:cxnSp>
            <p:nvCxnSpPr>
              <p:cNvPr id="62" name="直接连接符 61"/>
              <p:cNvCxnSpPr/>
              <p:nvPr/>
            </p:nvCxnSpPr>
            <p:spPr>
              <a:xfrm flipV="1">
                <a:off x="3851920" y="1275606"/>
                <a:ext cx="0" cy="792088"/>
              </a:xfrm>
              <a:prstGeom prst="line">
                <a:avLst/>
              </a:prstGeom>
              <a:ln>
                <a:solidFill>
                  <a:srgbClr val="00336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直接连接符 62"/>
              <p:cNvCxnSpPr/>
              <p:nvPr/>
            </p:nvCxnSpPr>
            <p:spPr>
              <a:xfrm flipH="1">
                <a:off x="1090383" y="1275606"/>
                <a:ext cx="2761537" cy="0"/>
              </a:xfrm>
              <a:prstGeom prst="line">
                <a:avLst/>
              </a:prstGeom>
              <a:ln>
                <a:solidFill>
                  <a:srgbClr val="00336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4" name="椭圆 63"/>
              <p:cNvSpPr/>
              <p:nvPr/>
            </p:nvSpPr>
            <p:spPr>
              <a:xfrm>
                <a:off x="1054377" y="1239602"/>
                <a:ext cx="72008" cy="72008"/>
              </a:xfrm>
              <a:prstGeom prst="ellipse">
                <a:avLst/>
              </a:prstGeom>
              <a:solidFill>
                <a:srgbClr val="0033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43" name="组合 42"/>
            <p:cNvGrpSpPr/>
            <p:nvPr/>
          </p:nvGrpSpPr>
          <p:grpSpPr>
            <a:xfrm flipH="1">
              <a:off x="6993386" y="1652803"/>
              <a:ext cx="3730057" cy="1104123"/>
              <a:chOff x="1054377" y="1239602"/>
              <a:chExt cx="2797543" cy="828092"/>
            </a:xfrm>
          </p:grpSpPr>
          <p:cxnSp>
            <p:nvCxnSpPr>
              <p:cNvPr id="59" name="直接连接符 58"/>
              <p:cNvCxnSpPr/>
              <p:nvPr/>
            </p:nvCxnSpPr>
            <p:spPr>
              <a:xfrm flipV="1">
                <a:off x="3851920" y="1275606"/>
                <a:ext cx="0" cy="792088"/>
              </a:xfrm>
              <a:prstGeom prst="line">
                <a:avLst/>
              </a:prstGeom>
              <a:ln>
                <a:solidFill>
                  <a:srgbClr val="00336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直接连接符 59"/>
              <p:cNvCxnSpPr/>
              <p:nvPr/>
            </p:nvCxnSpPr>
            <p:spPr>
              <a:xfrm flipH="1">
                <a:off x="1090383" y="1275606"/>
                <a:ext cx="2761537" cy="0"/>
              </a:xfrm>
              <a:prstGeom prst="line">
                <a:avLst/>
              </a:prstGeom>
              <a:ln>
                <a:solidFill>
                  <a:srgbClr val="00336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1" name="椭圆 60"/>
              <p:cNvSpPr/>
              <p:nvPr/>
            </p:nvSpPr>
            <p:spPr>
              <a:xfrm>
                <a:off x="1054377" y="1239602"/>
                <a:ext cx="72008" cy="72008"/>
              </a:xfrm>
              <a:prstGeom prst="ellipse">
                <a:avLst/>
              </a:prstGeom>
              <a:solidFill>
                <a:srgbClr val="0033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45" name="组合 44"/>
            <p:cNvGrpSpPr/>
            <p:nvPr/>
          </p:nvGrpSpPr>
          <p:grpSpPr>
            <a:xfrm flipV="1">
              <a:off x="1413437" y="4496843"/>
              <a:ext cx="3730057" cy="1104123"/>
              <a:chOff x="1054377" y="1239602"/>
              <a:chExt cx="2797543" cy="828092"/>
            </a:xfrm>
          </p:grpSpPr>
          <p:cxnSp>
            <p:nvCxnSpPr>
              <p:cNvPr id="56" name="直接连接符 55"/>
              <p:cNvCxnSpPr/>
              <p:nvPr/>
            </p:nvCxnSpPr>
            <p:spPr>
              <a:xfrm flipV="1">
                <a:off x="3851920" y="1275606"/>
                <a:ext cx="0" cy="792088"/>
              </a:xfrm>
              <a:prstGeom prst="line">
                <a:avLst/>
              </a:prstGeom>
              <a:ln>
                <a:solidFill>
                  <a:srgbClr val="00336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直接连接符 56"/>
              <p:cNvCxnSpPr/>
              <p:nvPr/>
            </p:nvCxnSpPr>
            <p:spPr>
              <a:xfrm flipH="1">
                <a:off x="1090383" y="1275606"/>
                <a:ext cx="2761537" cy="0"/>
              </a:xfrm>
              <a:prstGeom prst="line">
                <a:avLst/>
              </a:prstGeom>
              <a:ln>
                <a:solidFill>
                  <a:srgbClr val="00336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8" name="椭圆 57"/>
              <p:cNvSpPr/>
              <p:nvPr/>
            </p:nvSpPr>
            <p:spPr>
              <a:xfrm>
                <a:off x="1054377" y="1239602"/>
                <a:ext cx="72008" cy="72008"/>
              </a:xfrm>
              <a:prstGeom prst="ellipse">
                <a:avLst/>
              </a:prstGeom>
              <a:solidFill>
                <a:srgbClr val="0033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46" name="组合 45"/>
            <p:cNvGrpSpPr/>
            <p:nvPr/>
          </p:nvGrpSpPr>
          <p:grpSpPr>
            <a:xfrm flipH="1" flipV="1">
              <a:off x="7000986" y="4496843"/>
              <a:ext cx="3730057" cy="1104123"/>
              <a:chOff x="1054377" y="1239602"/>
              <a:chExt cx="2797543" cy="828092"/>
            </a:xfrm>
          </p:grpSpPr>
          <p:cxnSp>
            <p:nvCxnSpPr>
              <p:cNvPr id="53" name="直接连接符 52"/>
              <p:cNvCxnSpPr/>
              <p:nvPr/>
            </p:nvCxnSpPr>
            <p:spPr>
              <a:xfrm flipV="1">
                <a:off x="3851920" y="1275606"/>
                <a:ext cx="0" cy="792088"/>
              </a:xfrm>
              <a:prstGeom prst="line">
                <a:avLst/>
              </a:prstGeom>
              <a:ln>
                <a:solidFill>
                  <a:srgbClr val="00336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直接连接符 53"/>
              <p:cNvCxnSpPr/>
              <p:nvPr/>
            </p:nvCxnSpPr>
            <p:spPr>
              <a:xfrm flipH="1">
                <a:off x="1090383" y="1275606"/>
                <a:ext cx="2761537" cy="0"/>
              </a:xfrm>
              <a:prstGeom prst="line">
                <a:avLst/>
              </a:prstGeom>
              <a:ln>
                <a:solidFill>
                  <a:srgbClr val="00336C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椭圆 54"/>
              <p:cNvSpPr/>
              <p:nvPr/>
            </p:nvSpPr>
            <p:spPr>
              <a:xfrm>
                <a:off x="1054377" y="1239602"/>
                <a:ext cx="72008" cy="72008"/>
              </a:xfrm>
              <a:prstGeom prst="ellipse">
                <a:avLst/>
              </a:prstGeom>
              <a:solidFill>
                <a:srgbClr val="0033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 sz="2400"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47" name="Rectangle 17"/>
            <p:cNvSpPr>
              <a:spLocks noChangeArrowheads="1"/>
            </p:cNvSpPr>
            <p:nvPr/>
          </p:nvSpPr>
          <p:spPr bwMode="auto">
            <a:xfrm>
              <a:off x="1436296" y="2006843"/>
              <a:ext cx="2938722" cy="7670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1905" lvl="1" defTabSz="1193165">
                <a:lnSpc>
                  <a:spcPct val="120000"/>
                </a:lnSpc>
                <a:buSzPct val="120000"/>
              </a:pPr>
              <a:r>
                <a:rPr lang="zh-CN" altLang="en-US" sz="1600" b="1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原料管理</a:t>
              </a:r>
              <a:r>
                <a:rPr lang="en-US" altLang="zh-CN" sz="1600" b="1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 </a:t>
              </a:r>
            </a:p>
            <a:p>
              <a:pPr marL="1905" lvl="1" defTabSz="1193165">
                <a:lnSpc>
                  <a:spcPct val="120000"/>
                </a:lnSpc>
                <a:buSzPct val="120000"/>
              </a:pPr>
              <a:r>
                <a:rPr lang="zh-CN" altLang="en-US" sz="16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   自有</a:t>
              </a:r>
              <a:r>
                <a:rPr lang="en-US" altLang="zh-CN" sz="16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+</a:t>
              </a:r>
              <a:r>
                <a:rPr lang="zh-CN" altLang="en-US" sz="16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备案养殖场</a:t>
              </a:r>
            </a:p>
            <a:p>
              <a:pPr marL="192405" lvl="1" indent="-190500" defTabSz="1193165">
                <a:lnSpc>
                  <a:spcPct val="120000"/>
                </a:lnSpc>
                <a:buSzPct val="120000"/>
                <a:buChar char="•"/>
              </a:pPr>
              <a:r>
                <a:rPr lang="zh-CN" altLang="en-US" sz="16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供应商年度评估</a:t>
              </a:r>
              <a:endParaRPr lang="en-US" altLang="zh-CN" sz="1600" b="1" dirty="0">
                <a:solidFill>
                  <a:srgbClr val="008000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49" name="文本框 48"/>
            <p:cNvSpPr txBox="1"/>
            <p:nvPr/>
          </p:nvSpPr>
          <p:spPr>
            <a:xfrm>
              <a:off x="5596861" y="1880053"/>
              <a:ext cx="716863" cy="6667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3735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01</a:t>
              </a:r>
              <a:endParaRPr lang="zh-CN" altLang="en-US" sz="3735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50" name="文本框 49"/>
            <p:cNvSpPr txBox="1"/>
            <p:nvPr/>
          </p:nvSpPr>
          <p:spPr>
            <a:xfrm>
              <a:off x="7062720" y="3303500"/>
              <a:ext cx="716863" cy="6667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3735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02</a:t>
              </a:r>
              <a:endParaRPr lang="zh-CN" altLang="en-US" sz="3735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51" name="文本框 50"/>
            <p:cNvSpPr txBox="1"/>
            <p:nvPr/>
          </p:nvSpPr>
          <p:spPr>
            <a:xfrm>
              <a:off x="5850926" y="4669703"/>
              <a:ext cx="716863" cy="6667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3735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03</a:t>
              </a:r>
              <a:endParaRPr lang="zh-CN" altLang="en-US" sz="3735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52" name="文本框 51"/>
            <p:cNvSpPr txBox="1"/>
            <p:nvPr/>
          </p:nvSpPr>
          <p:spPr>
            <a:xfrm>
              <a:off x="4301918" y="3428076"/>
              <a:ext cx="716863" cy="6667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3735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</a:rPr>
                <a:t>04</a:t>
              </a:r>
              <a:endParaRPr lang="zh-CN" altLang="en-US" sz="3735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69" name="Rectangle 17"/>
            <p:cNvSpPr>
              <a:spLocks noChangeArrowheads="1"/>
            </p:cNvSpPr>
            <p:nvPr/>
          </p:nvSpPr>
          <p:spPr bwMode="auto">
            <a:xfrm>
              <a:off x="1493652" y="4109254"/>
              <a:ext cx="3170659" cy="7670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marL="1905" lvl="1" defTabSz="1193165">
                <a:lnSpc>
                  <a:spcPct val="120000"/>
                </a:lnSpc>
                <a:buSzPct val="120000"/>
              </a:pPr>
              <a:r>
                <a:rPr lang="zh-CN" altLang="en-US" sz="1600" b="1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认证</a:t>
              </a:r>
              <a:endParaRPr lang="en-US" altLang="zh-CN" sz="1600" b="1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  <a:p>
              <a:pPr marL="192405" lvl="1" indent="-190500" defTabSz="1193165">
                <a:lnSpc>
                  <a:spcPct val="120000"/>
                </a:lnSpc>
                <a:buSzPct val="120000"/>
                <a:buChar char="•"/>
              </a:pPr>
              <a:r>
                <a:rPr lang="en-US" altLang="zh-CN" sz="1600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质量管理体系国际认证</a:t>
              </a:r>
            </a:p>
            <a:p>
              <a:pPr marL="192405" lvl="1" indent="-190500" defTabSz="1193165">
                <a:lnSpc>
                  <a:spcPct val="120000"/>
                </a:lnSpc>
                <a:buSzPct val="120000"/>
                <a:buChar char="•"/>
              </a:pPr>
              <a:r>
                <a:rPr lang="zh-CN" altLang="en-US" sz="16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等线" panose="02010600030101010101" charset="-122"/>
                </a:rPr>
                <a:t>国家认可</a:t>
              </a:r>
              <a:r>
                <a:rPr lang="en-US" altLang="zh-CN" sz="16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等线" panose="02010600030101010101" charset="-122"/>
                </a:rPr>
                <a:t>CNAS</a:t>
              </a:r>
              <a:r>
                <a:rPr lang="zh-CN" altLang="en-US" sz="1600" b="1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等线" panose="02010600030101010101" charset="-122"/>
                </a:rPr>
                <a:t>实验室</a:t>
              </a:r>
              <a:endParaRPr lang="en-US" altLang="zh-CN" sz="1600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70" name="Rectangle 15"/>
            <p:cNvSpPr>
              <a:spLocks noChangeArrowheads="1"/>
            </p:cNvSpPr>
            <p:nvPr/>
          </p:nvSpPr>
          <p:spPr bwMode="auto">
            <a:xfrm>
              <a:off x="7944515" y="4109254"/>
              <a:ext cx="2864895" cy="10230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1pPr>
              <a:lvl2pPr marL="144780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3pPr>
              <a:lvl4pPr marL="431800" indent="-135255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4pPr>
              <a:lvl5pPr marL="582930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5pPr>
              <a:lvl6pPr marL="1040130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6pPr>
              <a:lvl7pPr marL="1497330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7pPr>
              <a:lvl8pPr marL="1954530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8pPr>
              <a:lvl9pPr marL="2411730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-윤고딕130" pitchFamily="18" charset="-127"/>
                </a:defRPr>
              </a:lvl9pPr>
            </a:lstStyle>
            <a:p>
              <a:pPr marL="1905" lvl="1" indent="0">
                <a:lnSpc>
                  <a:spcPct val="120000"/>
                </a:lnSpc>
                <a:buNone/>
              </a:pPr>
              <a:r>
                <a:rPr lang="en-US" altLang="zh-CN" b="1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OEM</a:t>
              </a:r>
              <a:r>
                <a:rPr lang="zh-CN" altLang="en-US" b="1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管理</a:t>
              </a:r>
            </a:p>
            <a:p>
              <a:pPr marL="1905" lvl="1" indent="0">
                <a:lnSpc>
                  <a:spcPct val="120000"/>
                </a:lnSpc>
                <a:buNone/>
              </a:pPr>
              <a:r>
                <a:rPr lang="zh-CN" altLang="en-US" b="1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  </a:t>
              </a:r>
              <a:r>
                <a:rPr lang="en-US" altLang="zh-CN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OEM </a:t>
              </a:r>
              <a:r>
                <a:rPr lang="zh-CN" altLang="en-US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工厂准入</a:t>
              </a:r>
            </a:p>
            <a:p>
              <a:pPr marL="1905" lvl="1" indent="0">
                <a:lnSpc>
                  <a:spcPct val="120000"/>
                </a:lnSpc>
                <a:buNone/>
              </a:pPr>
              <a:r>
                <a:rPr lang="zh-CN" altLang="en-US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  质量标准</a:t>
              </a:r>
              <a:r>
                <a:rPr lang="en-US" altLang="zh-CN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 + </a:t>
              </a:r>
              <a:r>
                <a:rPr lang="zh-CN" altLang="en-US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质量管理输出</a:t>
              </a:r>
            </a:p>
            <a:p>
              <a:pPr marL="1905" lvl="1" indent="0">
                <a:lnSpc>
                  <a:spcPct val="120000"/>
                </a:lnSpc>
                <a:buNone/>
              </a:pPr>
              <a:r>
                <a:rPr lang="zh-CN" altLang="en-US" dirty="0"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  年度评估</a:t>
              </a:r>
              <a:endParaRPr lang="en-US" altLang="zh-CN" dirty="0"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48" name="矩形 47"/>
          <p:cNvSpPr/>
          <p:nvPr>
            <p:custDataLst>
              <p:tags r:id="rId1"/>
            </p:custDataLst>
          </p:nvPr>
        </p:nvSpPr>
        <p:spPr>
          <a:xfrm>
            <a:off x="5175349" y="2771460"/>
            <a:ext cx="1804654" cy="1489657"/>
          </a:xfrm>
          <a:prstGeom prst="rect">
            <a:avLst/>
          </a:prstGeom>
        </p:spPr>
        <p:txBody>
          <a:bodyPr wrap="square" lIns="90000" tIns="46800" rIns="90000" bIns="46800" anchor="ctr"/>
          <a:lstStyle/>
          <a:p>
            <a:pPr algn="ctr">
              <a:lnSpc>
                <a:spcPct val="120000"/>
              </a:lnSpc>
            </a:pP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食品安全综合质量管理体系</a:t>
            </a:r>
            <a:endParaRPr lang="zh-CN" altLang="en-US" sz="1400" b="1" spc="300" dirty="0">
              <a:solidFill>
                <a:srgbClr val="00336C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+mn-ea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可追溯系统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7</a:t>
            </a:fld>
            <a:endParaRPr lang="zh-CN" altLang="en-US"/>
          </a:p>
        </p:txBody>
      </p:sp>
      <p:cxnSp>
        <p:nvCxnSpPr>
          <p:cNvPr id="5" name="直接连接符 4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grpSp>
        <p:nvGrpSpPr>
          <p:cNvPr id="7" name="Group 40"/>
          <p:cNvGrpSpPr/>
          <p:nvPr/>
        </p:nvGrpSpPr>
        <p:grpSpPr>
          <a:xfrm>
            <a:off x="1124585" y="1442720"/>
            <a:ext cx="4279265" cy="4655185"/>
            <a:chOff x="359" y="1097"/>
            <a:chExt cx="1890" cy="1835"/>
          </a:xfrm>
        </p:grpSpPr>
        <p:sp>
          <p:nvSpPr>
            <p:cNvPr id="8" name="AutoShape 4"/>
            <p:cNvSpPr>
              <a:spLocks noChangeArrowheads="1"/>
            </p:cNvSpPr>
            <p:nvPr/>
          </p:nvSpPr>
          <p:spPr bwMode="auto">
            <a:xfrm>
              <a:off x="359" y="1097"/>
              <a:ext cx="1890" cy="157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25400" algn="ctr">
              <a:solidFill>
                <a:srgbClr val="FFFFFF"/>
              </a:solidFill>
              <a:round/>
            </a:ln>
            <a:effectLst>
              <a:outerShdw dist="107763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en-US" altLang="zh-C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uLnTx/>
                  <a:uFillTx/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CRM checking the product lot#</a:t>
              </a:r>
              <a:endPara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9" name="AutoShape 4"/>
            <p:cNvSpPr>
              <a:spLocks noChangeArrowheads="1"/>
            </p:cNvSpPr>
            <p:nvPr/>
          </p:nvSpPr>
          <p:spPr bwMode="auto">
            <a:xfrm>
              <a:off x="359" y="1368"/>
              <a:ext cx="1890" cy="157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25400" algn="ctr">
              <a:solidFill>
                <a:srgbClr val="FFFFFF"/>
              </a:solidFill>
              <a:round/>
            </a:ln>
            <a:effectLst>
              <a:outerShdw dist="107763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Container loading check</a:t>
              </a:r>
              <a:endParaRPr lang="zh-CN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0" name="AutoShape 4"/>
            <p:cNvSpPr>
              <a:spLocks noChangeArrowheads="1"/>
            </p:cNvSpPr>
            <p:nvPr/>
          </p:nvSpPr>
          <p:spPr bwMode="auto">
            <a:xfrm>
              <a:off x="359" y="1645"/>
              <a:ext cx="1890" cy="157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25400" algn="ctr">
              <a:solidFill>
                <a:srgbClr val="FFFFFF"/>
              </a:solidFill>
              <a:round/>
            </a:ln>
            <a:effectLst>
              <a:outerShdw dist="107763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Microbial inspection report</a:t>
              </a:r>
              <a:endParaRPr lang="zh-CN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1" name="AutoShape 4"/>
            <p:cNvSpPr>
              <a:spLocks noChangeArrowheads="1"/>
            </p:cNvSpPr>
            <p:nvPr/>
          </p:nvSpPr>
          <p:spPr bwMode="auto">
            <a:xfrm>
              <a:off x="359" y="1911"/>
              <a:ext cx="1890" cy="157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25400" algn="ctr">
              <a:solidFill>
                <a:srgbClr val="FFFFFF"/>
              </a:solidFill>
              <a:round/>
            </a:ln>
            <a:effectLst>
              <a:outerShdw dist="107763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Medicine residue report</a:t>
              </a:r>
              <a:endParaRPr lang="zh-CN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2" name="AutoShape 4"/>
            <p:cNvSpPr>
              <a:spLocks noChangeArrowheads="1"/>
            </p:cNvSpPr>
            <p:nvPr/>
          </p:nvSpPr>
          <p:spPr bwMode="auto">
            <a:xfrm>
              <a:off x="359" y="2210"/>
              <a:ext cx="1890" cy="157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25400" algn="ctr">
              <a:solidFill>
                <a:srgbClr val="FFFFFF"/>
              </a:solidFill>
              <a:round/>
            </a:ln>
            <a:effectLst>
              <a:outerShdw dist="107763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Receiving report</a:t>
              </a:r>
              <a:endParaRPr lang="zh-CN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3" name="AutoShape 4"/>
            <p:cNvSpPr>
              <a:spLocks noChangeArrowheads="1"/>
            </p:cNvSpPr>
            <p:nvPr/>
          </p:nvSpPr>
          <p:spPr bwMode="auto">
            <a:xfrm>
              <a:off x="359" y="2498"/>
              <a:ext cx="1890" cy="157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25400" algn="ctr">
              <a:solidFill>
                <a:srgbClr val="FFFFFF"/>
              </a:solidFill>
              <a:round/>
            </a:ln>
            <a:effectLst>
              <a:outerShdw dist="107763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Metal detector report</a:t>
              </a:r>
              <a:endParaRPr lang="zh-CN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4" name="AutoShape 4"/>
            <p:cNvSpPr>
              <a:spLocks noChangeArrowheads="1"/>
            </p:cNvSpPr>
            <p:nvPr/>
          </p:nvSpPr>
          <p:spPr bwMode="auto">
            <a:xfrm>
              <a:off x="359" y="2775"/>
              <a:ext cx="1890" cy="157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25400" algn="ctr">
              <a:solidFill>
                <a:srgbClr val="FFFFFF"/>
              </a:solidFill>
              <a:round/>
            </a:ln>
            <a:effectLst>
              <a:outerShdw dist="107763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Product lot report in work shop</a:t>
              </a:r>
              <a:endParaRPr lang="zh-CN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Freeform 44"/>
            <p:cNvSpPr/>
            <p:nvPr/>
          </p:nvSpPr>
          <p:spPr>
            <a:xfrm rot="60000">
              <a:off x="1271" y="1264"/>
              <a:ext cx="58" cy="117"/>
            </a:xfrm>
            <a:custGeom>
              <a:avLst/>
              <a:gdLst>
                <a:gd name="txL" fmla="*/ 0 w 142"/>
                <a:gd name="txT" fmla="*/ 0 h 604"/>
                <a:gd name="txR" fmla="*/ 142 w 142"/>
                <a:gd name="txB" fmla="*/ 604 h 604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142" h="604">
                  <a:moveTo>
                    <a:pt x="37" y="1"/>
                  </a:moveTo>
                  <a:lnTo>
                    <a:pt x="45" y="472"/>
                  </a:lnTo>
                  <a:lnTo>
                    <a:pt x="0" y="474"/>
                  </a:lnTo>
                  <a:lnTo>
                    <a:pt x="72" y="604"/>
                  </a:lnTo>
                  <a:lnTo>
                    <a:pt x="142" y="474"/>
                  </a:lnTo>
                  <a:lnTo>
                    <a:pt x="100" y="474"/>
                  </a:lnTo>
                  <a:lnTo>
                    <a:pt x="99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000000">
                <a:alpha val="50195"/>
              </a:srgbClr>
            </a:solidFill>
            <a:ln w="9525">
              <a:noFill/>
            </a:ln>
          </p:spPr>
          <p:txBody>
            <a:bodyPr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6" name="Freeform 44"/>
            <p:cNvSpPr/>
            <p:nvPr/>
          </p:nvSpPr>
          <p:spPr>
            <a:xfrm rot="60000">
              <a:off x="1271" y="1536"/>
              <a:ext cx="58" cy="117"/>
            </a:xfrm>
            <a:custGeom>
              <a:avLst/>
              <a:gdLst>
                <a:gd name="txL" fmla="*/ 0 w 142"/>
                <a:gd name="txT" fmla="*/ 0 h 604"/>
                <a:gd name="txR" fmla="*/ 142 w 142"/>
                <a:gd name="txB" fmla="*/ 604 h 604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142" h="604">
                  <a:moveTo>
                    <a:pt x="37" y="1"/>
                  </a:moveTo>
                  <a:lnTo>
                    <a:pt x="45" y="472"/>
                  </a:lnTo>
                  <a:lnTo>
                    <a:pt x="0" y="474"/>
                  </a:lnTo>
                  <a:lnTo>
                    <a:pt x="72" y="604"/>
                  </a:lnTo>
                  <a:lnTo>
                    <a:pt x="142" y="474"/>
                  </a:lnTo>
                  <a:lnTo>
                    <a:pt x="100" y="474"/>
                  </a:lnTo>
                  <a:lnTo>
                    <a:pt x="99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000000">
                <a:alpha val="50195"/>
              </a:srgbClr>
            </a:solidFill>
            <a:ln w="9525">
              <a:noFill/>
            </a:ln>
          </p:spPr>
          <p:txBody>
            <a:bodyPr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Freeform 44"/>
            <p:cNvSpPr/>
            <p:nvPr/>
          </p:nvSpPr>
          <p:spPr>
            <a:xfrm rot="60000">
              <a:off x="1271" y="1803"/>
              <a:ext cx="58" cy="116"/>
            </a:xfrm>
            <a:custGeom>
              <a:avLst/>
              <a:gdLst>
                <a:gd name="txL" fmla="*/ 0 w 142"/>
                <a:gd name="txT" fmla="*/ 0 h 604"/>
                <a:gd name="txR" fmla="*/ 142 w 142"/>
                <a:gd name="txB" fmla="*/ 604 h 604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142" h="604">
                  <a:moveTo>
                    <a:pt x="37" y="1"/>
                  </a:moveTo>
                  <a:lnTo>
                    <a:pt x="45" y="472"/>
                  </a:lnTo>
                  <a:lnTo>
                    <a:pt x="0" y="474"/>
                  </a:lnTo>
                  <a:lnTo>
                    <a:pt x="72" y="604"/>
                  </a:lnTo>
                  <a:lnTo>
                    <a:pt x="142" y="474"/>
                  </a:lnTo>
                  <a:lnTo>
                    <a:pt x="100" y="474"/>
                  </a:lnTo>
                  <a:lnTo>
                    <a:pt x="99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000000">
                <a:alpha val="50195"/>
              </a:srgbClr>
            </a:solidFill>
            <a:ln w="9525">
              <a:noFill/>
            </a:ln>
          </p:spPr>
          <p:txBody>
            <a:bodyPr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8" name="Freeform 44"/>
            <p:cNvSpPr/>
            <p:nvPr/>
          </p:nvSpPr>
          <p:spPr>
            <a:xfrm rot="60000">
              <a:off x="1271" y="2103"/>
              <a:ext cx="58" cy="116"/>
            </a:xfrm>
            <a:custGeom>
              <a:avLst/>
              <a:gdLst>
                <a:gd name="txL" fmla="*/ 0 w 142"/>
                <a:gd name="txT" fmla="*/ 0 h 604"/>
                <a:gd name="txR" fmla="*/ 142 w 142"/>
                <a:gd name="txB" fmla="*/ 604 h 604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142" h="604">
                  <a:moveTo>
                    <a:pt x="37" y="1"/>
                  </a:moveTo>
                  <a:lnTo>
                    <a:pt x="45" y="472"/>
                  </a:lnTo>
                  <a:lnTo>
                    <a:pt x="0" y="474"/>
                  </a:lnTo>
                  <a:lnTo>
                    <a:pt x="72" y="604"/>
                  </a:lnTo>
                  <a:lnTo>
                    <a:pt x="142" y="474"/>
                  </a:lnTo>
                  <a:lnTo>
                    <a:pt x="100" y="474"/>
                  </a:lnTo>
                  <a:lnTo>
                    <a:pt x="99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000000">
                <a:alpha val="50195"/>
              </a:srgbClr>
            </a:solidFill>
            <a:ln w="9525">
              <a:noFill/>
            </a:ln>
          </p:spPr>
          <p:txBody>
            <a:bodyPr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9" name="Freeform 44"/>
            <p:cNvSpPr/>
            <p:nvPr/>
          </p:nvSpPr>
          <p:spPr>
            <a:xfrm rot="60000">
              <a:off x="1271" y="2386"/>
              <a:ext cx="58" cy="116"/>
            </a:xfrm>
            <a:custGeom>
              <a:avLst/>
              <a:gdLst>
                <a:gd name="txL" fmla="*/ 0 w 142"/>
                <a:gd name="txT" fmla="*/ 0 h 604"/>
                <a:gd name="txR" fmla="*/ 142 w 142"/>
                <a:gd name="txB" fmla="*/ 604 h 604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142" h="604">
                  <a:moveTo>
                    <a:pt x="37" y="1"/>
                  </a:moveTo>
                  <a:lnTo>
                    <a:pt x="45" y="472"/>
                  </a:lnTo>
                  <a:lnTo>
                    <a:pt x="0" y="474"/>
                  </a:lnTo>
                  <a:lnTo>
                    <a:pt x="72" y="604"/>
                  </a:lnTo>
                  <a:lnTo>
                    <a:pt x="142" y="474"/>
                  </a:lnTo>
                  <a:lnTo>
                    <a:pt x="100" y="474"/>
                  </a:lnTo>
                  <a:lnTo>
                    <a:pt x="99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000000">
                <a:alpha val="50195"/>
              </a:srgbClr>
            </a:solidFill>
            <a:ln w="9525">
              <a:noFill/>
            </a:ln>
          </p:spPr>
          <p:txBody>
            <a:bodyPr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0" name="Freeform 44"/>
            <p:cNvSpPr/>
            <p:nvPr/>
          </p:nvSpPr>
          <p:spPr>
            <a:xfrm rot="60000">
              <a:off x="1271" y="2670"/>
              <a:ext cx="58" cy="116"/>
            </a:xfrm>
            <a:custGeom>
              <a:avLst/>
              <a:gdLst>
                <a:gd name="txL" fmla="*/ 0 w 142"/>
                <a:gd name="txT" fmla="*/ 0 h 604"/>
                <a:gd name="txR" fmla="*/ 142 w 142"/>
                <a:gd name="txB" fmla="*/ 604 h 604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142" h="604">
                  <a:moveTo>
                    <a:pt x="37" y="1"/>
                  </a:moveTo>
                  <a:lnTo>
                    <a:pt x="45" y="472"/>
                  </a:lnTo>
                  <a:lnTo>
                    <a:pt x="0" y="474"/>
                  </a:lnTo>
                  <a:lnTo>
                    <a:pt x="72" y="604"/>
                  </a:lnTo>
                  <a:lnTo>
                    <a:pt x="142" y="474"/>
                  </a:lnTo>
                  <a:lnTo>
                    <a:pt x="100" y="474"/>
                  </a:lnTo>
                  <a:lnTo>
                    <a:pt x="99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000000">
                <a:alpha val="50195"/>
              </a:srgbClr>
            </a:solidFill>
            <a:ln w="9525">
              <a:noFill/>
            </a:ln>
          </p:spPr>
          <p:txBody>
            <a:bodyPr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1" name="Group 43"/>
          <p:cNvGrpSpPr/>
          <p:nvPr/>
        </p:nvGrpSpPr>
        <p:grpSpPr>
          <a:xfrm>
            <a:off x="6884670" y="1557655"/>
            <a:ext cx="4245672" cy="4520968"/>
            <a:chOff x="2985" y="791"/>
            <a:chExt cx="2253" cy="3072"/>
          </a:xfrm>
        </p:grpSpPr>
        <p:sp>
          <p:nvSpPr>
            <p:cNvPr id="22" name="AutoShape 4"/>
            <p:cNvSpPr>
              <a:spLocks noChangeArrowheads="1"/>
            </p:cNvSpPr>
            <p:nvPr/>
          </p:nvSpPr>
          <p:spPr bwMode="auto">
            <a:xfrm>
              <a:off x="2985" y="791"/>
              <a:ext cx="2216" cy="227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25400" algn="ctr">
              <a:solidFill>
                <a:srgbClr val="FFFFFF"/>
              </a:solidFill>
              <a:round/>
            </a:ln>
            <a:effectLst>
              <a:outerShdw dist="107763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Raw material receive report</a:t>
              </a:r>
              <a:endParaRPr lang="zh-CN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23" name="AutoShape 4"/>
            <p:cNvSpPr>
              <a:spLocks noChangeArrowheads="1"/>
            </p:cNvSpPr>
            <p:nvPr/>
          </p:nvSpPr>
          <p:spPr bwMode="auto">
            <a:xfrm>
              <a:off x="3001" y="1208"/>
              <a:ext cx="2216" cy="227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25400" algn="ctr">
              <a:solidFill>
                <a:srgbClr val="FFFFFF"/>
              </a:solidFill>
              <a:round/>
            </a:ln>
            <a:effectLst>
              <a:outerShdw dist="107763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Supplier ID</a:t>
              </a:r>
              <a:endParaRPr lang="zh-CN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24" name="AutoShape 4"/>
            <p:cNvSpPr>
              <a:spLocks noChangeArrowheads="1"/>
            </p:cNvSpPr>
            <p:nvPr/>
          </p:nvSpPr>
          <p:spPr bwMode="auto">
            <a:xfrm>
              <a:off x="3001" y="1600"/>
              <a:ext cx="2237" cy="302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25400" algn="ctr">
              <a:solidFill>
                <a:srgbClr val="FFFFFF"/>
              </a:solidFill>
              <a:round/>
            </a:ln>
            <a:effectLst>
              <a:outerShdw dist="107763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Raw material Medicine residue report</a:t>
              </a:r>
              <a:endParaRPr lang="zh-CN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25" name="AutoShape 4"/>
            <p:cNvSpPr>
              <a:spLocks noChangeArrowheads="1"/>
            </p:cNvSpPr>
            <p:nvPr/>
          </p:nvSpPr>
          <p:spPr bwMode="auto">
            <a:xfrm>
              <a:off x="3001" y="2000"/>
              <a:ext cx="2216" cy="228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25400" algn="ctr">
              <a:solidFill>
                <a:srgbClr val="FFFFFF"/>
              </a:solidFill>
              <a:round/>
            </a:ln>
            <a:effectLst>
              <a:outerShdw dist="107763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Farming report</a:t>
              </a:r>
              <a:endParaRPr lang="zh-CN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26" name="AutoShape 4"/>
            <p:cNvSpPr>
              <a:spLocks noChangeArrowheads="1"/>
            </p:cNvSpPr>
            <p:nvPr/>
          </p:nvSpPr>
          <p:spPr bwMode="auto">
            <a:xfrm>
              <a:off x="3001" y="2402"/>
              <a:ext cx="2216" cy="689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25400" algn="ctr">
              <a:solidFill>
                <a:srgbClr val="FFFFFF"/>
              </a:solidFill>
              <a:round/>
            </a:ln>
            <a:effectLst>
              <a:outerShdw dist="107763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 Farm monitor report: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By government</a:t>
              </a:r>
              <a:endParaRPr lang="zh-CN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27" name="AutoShape 4"/>
            <p:cNvSpPr>
              <a:spLocks noChangeArrowheads="1"/>
            </p:cNvSpPr>
            <p:nvPr/>
          </p:nvSpPr>
          <p:spPr bwMode="auto">
            <a:xfrm>
              <a:off x="2985" y="3232"/>
              <a:ext cx="2216" cy="227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25400" algn="ctr">
              <a:solidFill>
                <a:srgbClr val="FFFFFF"/>
              </a:solidFill>
              <a:round/>
            </a:ln>
            <a:effectLst>
              <a:outerShdw dist="107763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Farming </a:t>
              </a:r>
              <a:r>
                <a:rPr lang="en-US" altLang="zh-CN" sz="1600" b="1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operation </a:t>
              </a: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records</a:t>
              </a:r>
              <a:endParaRPr lang="zh-CN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28" name="AutoShape 4"/>
            <p:cNvSpPr>
              <a:spLocks noChangeArrowheads="1"/>
            </p:cNvSpPr>
            <p:nvPr/>
          </p:nvSpPr>
          <p:spPr bwMode="auto">
            <a:xfrm>
              <a:off x="2985" y="3636"/>
              <a:ext cx="2216" cy="227"/>
            </a:xfrm>
            <a:prstGeom prst="roundRect">
              <a:avLst>
                <a:gd name="adj" fmla="val 16667"/>
              </a:avLst>
            </a:prstGeom>
            <a:solidFill>
              <a:srgbClr val="002060"/>
            </a:solidFill>
            <a:ln w="25400" algn="ctr">
              <a:solidFill>
                <a:srgbClr val="FFFFFF"/>
              </a:solidFill>
              <a:round/>
            </a:ln>
            <a:effectLst>
              <a:outerShdw dist="107763" dir="2700000" algn="ctr" rotWithShape="0">
                <a:srgbClr val="000000">
                  <a:alpha val="50000"/>
                </a:srgbClr>
              </a:outerShdw>
            </a:effec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600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Times New Roman" panose="02020603050405020304" pitchFamily="18" charset="0"/>
                  <a:ea typeface="微软雅黑" panose="020B0503020204020204" pitchFamily="34" charset="-122"/>
                  <a:cs typeface="Times New Roman" panose="02020603050405020304" pitchFamily="18" charset="0"/>
                </a:rPr>
                <a:t>Water metal inspection report</a:t>
              </a:r>
              <a:endParaRPr lang="zh-CN" altLang="en-US" sz="16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29" name="Freeform 44"/>
            <p:cNvSpPr/>
            <p:nvPr/>
          </p:nvSpPr>
          <p:spPr>
            <a:xfrm rot="60000">
              <a:off x="4062" y="1480"/>
              <a:ext cx="68" cy="168"/>
            </a:xfrm>
            <a:custGeom>
              <a:avLst/>
              <a:gdLst>
                <a:gd name="txL" fmla="*/ 0 w 142"/>
                <a:gd name="txT" fmla="*/ 0 h 604"/>
                <a:gd name="txR" fmla="*/ 142 w 142"/>
                <a:gd name="txB" fmla="*/ 604 h 604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142" h="604">
                  <a:moveTo>
                    <a:pt x="37" y="1"/>
                  </a:moveTo>
                  <a:lnTo>
                    <a:pt x="45" y="472"/>
                  </a:lnTo>
                  <a:lnTo>
                    <a:pt x="0" y="474"/>
                  </a:lnTo>
                  <a:lnTo>
                    <a:pt x="72" y="604"/>
                  </a:lnTo>
                  <a:lnTo>
                    <a:pt x="142" y="474"/>
                  </a:lnTo>
                  <a:lnTo>
                    <a:pt x="100" y="474"/>
                  </a:lnTo>
                  <a:lnTo>
                    <a:pt x="99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000000">
                <a:alpha val="50195"/>
              </a:srgbClr>
            </a:solidFill>
            <a:ln w="9525">
              <a:noFill/>
            </a:ln>
          </p:spPr>
          <p:txBody>
            <a:bodyPr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0" name="Freeform 44"/>
            <p:cNvSpPr/>
            <p:nvPr/>
          </p:nvSpPr>
          <p:spPr>
            <a:xfrm rot="60000">
              <a:off x="4062" y="1841"/>
              <a:ext cx="68" cy="168"/>
            </a:xfrm>
            <a:custGeom>
              <a:avLst/>
              <a:gdLst>
                <a:gd name="txL" fmla="*/ 0 w 142"/>
                <a:gd name="txT" fmla="*/ 0 h 604"/>
                <a:gd name="txR" fmla="*/ 142 w 142"/>
                <a:gd name="txB" fmla="*/ 604 h 604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142" h="604">
                  <a:moveTo>
                    <a:pt x="37" y="1"/>
                  </a:moveTo>
                  <a:lnTo>
                    <a:pt x="45" y="472"/>
                  </a:lnTo>
                  <a:lnTo>
                    <a:pt x="0" y="474"/>
                  </a:lnTo>
                  <a:lnTo>
                    <a:pt x="72" y="604"/>
                  </a:lnTo>
                  <a:lnTo>
                    <a:pt x="142" y="474"/>
                  </a:lnTo>
                  <a:lnTo>
                    <a:pt x="100" y="474"/>
                  </a:lnTo>
                  <a:lnTo>
                    <a:pt x="99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000000">
                <a:alpha val="50195"/>
              </a:srgbClr>
            </a:solidFill>
            <a:ln w="9525">
              <a:noFill/>
            </a:ln>
          </p:spPr>
          <p:txBody>
            <a:bodyPr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Freeform 44"/>
            <p:cNvSpPr/>
            <p:nvPr/>
          </p:nvSpPr>
          <p:spPr>
            <a:xfrm rot="60000">
              <a:off x="4062" y="2234"/>
              <a:ext cx="68" cy="168"/>
            </a:xfrm>
            <a:custGeom>
              <a:avLst/>
              <a:gdLst>
                <a:gd name="txL" fmla="*/ 0 w 142"/>
                <a:gd name="txT" fmla="*/ 0 h 604"/>
                <a:gd name="txR" fmla="*/ 142 w 142"/>
                <a:gd name="txB" fmla="*/ 604 h 604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142" h="604">
                  <a:moveTo>
                    <a:pt x="37" y="1"/>
                  </a:moveTo>
                  <a:lnTo>
                    <a:pt x="45" y="472"/>
                  </a:lnTo>
                  <a:lnTo>
                    <a:pt x="0" y="474"/>
                  </a:lnTo>
                  <a:lnTo>
                    <a:pt x="72" y="604"/>
                  </a:lnTo>
                  <a:lnTo>
                    <a:pt x="142" y="474"/>
                  </a:lnTo>
                  <a:lnTo>
                    <a:pt x="100" y="474"/>
                  </a:lnTo>
                  <a:lnTo>
                    <a:pt x="99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000000">
                <a:alpha val="50195"/>
              </a:srgbClr>
            </a:solidFill>
            <a:ln w="9525">
              <a:noFill/>
            </a:ln>
          </p:spPr>
          <p:txBody>
            <a:bodyPr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2" name="Freeform 44"/>
            <p:cNvSpPr/>
            <p:nvPr/>
          </p:nvSpPr>
          <p:spPr>
            <a:xfrm rot="60000">
              <a:off x="4062" y="3491"/>
              <a:ext cx="68" cy="168"/>
            </a:xfrm>
            <a:custGeom>
              <a:avLst/>
              <a:gdLst>
                <a:gd name="txL" fmla="*/ 0 w 142"/>
                <a:gd name="txT" fmla="*/ 0 h 604"/>
                <a:gd name="txR" fmla="*/ 142 w 142"/>
                <a:gd name="txB" fmla="*/ 604 h 604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142" h="604">
                  <a:moveTo>
                    <a:pt x="37" y="1"/>
                  </a:moveTo>
                  <a:lnTo>
                    <a:pt x="45" y="472"/>
                  </a:lnTo>
                  <a:lnTo>
                    <a:pt x="0" y="474"/>
                  </a:lnTo>
                  <a:lnTo>
                    <a:pt x="72" y="604"/>
                  </a:lnTo>
                  <a:lnTo>
                    <a:pt x="142" y="474"/>
                  </a:lnTo>
                  <a:lnTo>
                    <a:pt x="100" y="474"/>
                  </a:lnTo>
                  <a:lnTo>
                    <a:pt x="99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000000">
                <a:alpha val="50195"/>
              </a:srgbClr>
            </a:solidFill>
            <a:ln w="9525">
              <a:noFill/>
            </a:ln>
          </p:spPr>
          <p:txBody>
            <a:bodyPr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3" name="Freeform 44"/>
            <p:cNvSpPr/>
            <p:nvPr/>
          </p:nvSpPr>
          <p:spPr>
            <a:xfrm rot="60000">
              <a:off x="4062" y="1044"/>
              <a:ext cx="68" cy="168"/>
            </a:xfrm>
            <a:custGeom>
              <a:avLst/>
              <a:gdLst>
                <a:gd name="txL" fmla="*/ 0 w 142"/>
                <a:gd name="txT" fmla="*/ 0 h 604"/>
                <a:gd name="txR" fmla="*/ 142 w 142"/>
                <a:gd name="txB" fmla="*/ 604 h 604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142" h="604">
                  <a:moveTo>
                    <a:pt x="37" y="1"/>
                  </a:moveTo>
                  <a:lnTo>
                    <a:pt x="45" y="472"/>
                  </a:lnTo>
                  <a:lnTo>
                    <a:pt x="0" y="474"/>
                  </a:lnTo>
                  <a:lnTo>
                    <a:pt x="72" y="604"/>
                  </a:lnTo>
                  <a:lnTo>
                    <a:pt x="142" y="474"/>
                  </a:lnTo>
                  <a:lnTo>
                    <a:pt x="100" y="474"/>
                  </a:lnTo>
                  <a:lnTo>
                    <a:pt x="99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000000">
                <a:alpha val="50195"/>
              </a:srgbClr>
            </a:solidFill>
            <a:ln w="9525">
              <a:noFill/>
            </a:ln>
          </p:spPr>
          <p:txBody>
            <a:bodyPr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34" name="Freeform 44"/>
            <p:cNvSpPr/>
            <p:nvPr/>
          </p:nvSpPr>
          <p:spPr>
            <a:xfrm rot="60000">
              <a:off x="4062" y="3084"/>
              <a:ext cx="68" cy="168"/>
            </a:xfrm>
            <a:custGeom>
              <a:avLst/>
              <a:gdLst>
                <a:gd name="txL" fmla="*/ 0 w 142"/>
                <a:gd name="txT" fmla="*/ 0 h 604"/>
                <a:gd name="txR" fmla="*/ 142 w 142"/>
                <a:gd name="txB" fmla="*/ 604 h 604"/>
              </a:gdLst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txL" t="txT" r="txR" b="txB"/>
              <a:pathLst>
                <a:path w="142" h="604">
                  <a:moveTo>
                    <a:pt x="37" y="1"/>
                  </a:moveTo>
                  <a:lnTo>
                    <a:pt x="45" y="472"/>
                  </a:lnTo>
                  <a:lnTo>
                    <a:pt x="0" y="474"/>
                  </a:lnTo>
                  <a:lnTo>
                    <a:pt x="72" y="604"/>
                  </a:lnTo>
                  <a:lnTo>
                    <a:pt x="142" y="474"/>
                  </a:lnTo>
                  <a:lnTo>
                    <a:pt x="100" y="474"/>
                  </a:lnTo>
                  <a:lnTo>
                    <a:pt x="99" y="0"/>
                  </a:lnTo>
                  <a:lnTo>
                    <a:pt x="37" y="1"/>
                  </a:lnTo>
                  <a:close/>
                </a:path>
              </a:pathLst>
            </a:custGeom>
            <a:solidFill>
              <a:srgbClr val="000000">
                <a:alpha val="50195"/>
              </a:srgbClr>
            </a:solidFill>
            <a:ln w="9525">
              <a:noFill/>
            </a:ln>
          </p:spPr>
          <p:txBody>
            <a:bodyPr/>
            <a:lstStyle/>
            <a:p>
              <a:endParaRPr lang="zh-CN" altLang="en-US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35" name="AutoShape 41"/>
          <p:cNvCxnSpPr>
            <a:cxnSpLocks noChangeShapeType="1"/>
          </p:cNvCxnSpPr>
          <p:nvPr/>
        </p:nvCxnSpPr>
        <p:spPr bwMode="auto">
          <a:xfrm flipV="1">
            <a:off x="5444808" y="1773238"/>
            <a:ext cx="1292225" cy="4170363"/>
          </a:xfrm>
          <a:prstGeom prst="bentConnector3">
            <a:avLst>
              <a:gd name="adj1" fmla="val 50000"/>
            </a:avLst>
          </a:prstGeom>
          <a:ln w="76200">
            <a:solidFill>
              <a:schemeClr val="accent3">
                <a:lumMod val="20000"/>
                <a:lumOff val="80000"/>
              </a:schemeClr>
            </a:solidFill>
            <a:tailEnd type="triangl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产品研发，预制菜品和调理食品，解放后厨，为客户创造价值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8</a:t>
            </a:fld>
            <a:endParaRPr lang="zh-CN" altLang="en-US"/>
          </a:p>
        </p:txBody>
      </p:sp>
      <p:cxnSp>
        <p:nvCxnSpPr>
          <p:cNvPr id="5" name="直接连接符 4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grpSp>
        <p:nvGrpSpPr>
          <p:cNvPr id="12" name="组合 11"/>
          <p:cNvGrpSpPr/>
          <p:nvPr/>
        </p:nvGrpSpPr>
        <p:grpSpPr>
          <a:xfrm>
            <a:off x="673502" y="2383889"/>
            <a:ext cx="4387146" cy="1907056"/>
            <a:chOff x="673502" y="2383889"/>
            <a:chExt cx="4387146" cy="1907056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3502" y="2383889"/>
              <a:ext cx="2190949" cy="1907056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64451" y="2383889"/>
              <a:ext cx="2196197" cy="1907056"/>
            </a:xfrm>
            <a:prstGeom prst="rect">
              <a:avLst/>
            </a:prstGeom>
          </p:spPr>
        </p:pic>
      </p:grpSp>
      <p:grpSp>
        <p:nvGrpSpPr>
          <p:cNvPr id="13" name="组合 12"/>
          <p:cNvGrpSpPr/>
          <p:nvPr/>
        </p:nvGrpSpPr>
        <p:grpSpPr>
          <a:xfrm>
            <a:off x="6676469" y="1805041"/>
            <a:ext cx="4650945" cy="2322988"/>
            <a:chOff x="6195296" y="816205"/>
            <a:chExt cx="5328271" cy="2641083"/>
          </a:xfrm>
        </p:grpSpPr>
        <p:pic>
          <p:nvPicPr>
            <p:cNvPr id="48" name="图片 2" descr="图片 2"/>
            <p:cNvPicPr>
              <a:picLocks noChangeAspect="1"/>
            </p:cNvPicPr>
            <p:nvPr/>
          </p:nvPicPr>
          <p:blipFill>
            <a:blip r:embed="rId6"/>
            <a:srcRect t="6613" b="6613"/>
            <a:stretch>
              <a:fillRect/>
            </a:stretch>
          </p:blipFill>
          <p:spPr>
            <a:xfrm>
              <a:off x="8904216" y="833359"/>
              <a:ext cx="1272984" cy="1272726"/>
            </a:xfrm>
            <a:prstGeom prst="rect">
              <a:avLst/>
            </a:prstGeom>
            <a:ln w="3175">
              <a:miter lim="400000"/>
              <a:headEnd/>
              <a:tailEnd/>
            </a:ln>
          </p:spPr>
        </p:pic>
        <p:pic>
          <p:nvPicPr>
            <p:cNvPr id="49" name="Picture 23" descr="Picture 23"/>
            <p:cNvPicPr>
              <a:picLocks noChangeAspect="1"/>
            </p:cNvPicPr>
            <p:nvPr/>
          </p:nvPicPr>
          <p:blipFill>
            <a:blip r:embed="rId7"/>
            <a:srcRect t="8912" b="8912"/>
            <a:stretch>
              <a:fillRect/>
            </a:stretch>
          </p:blipFill>
          <p:spPr>
            <a:xfrm>
              <a:off x="8905756" y="2175902"/>
              <a:ext cx="1272984" cy="1272726"/>
            </a:xfrm>
            <a:prstGeom prst="rect">
              <a:avLst/>
            </a:prstGeom>
            <a:ln w="3175">
              <a:miter lim="400000"/>
              <a:headEnd/>
              <a:tailEnd/>
            </a:ln>
          </p:spPr>
        </p:pic>
        <p:pic>
          <p:nvPicPr>
            <p:cNvPr id="50" name="图片 17" descr="图片 17"/>
            <p:cNvPicPr>
              <a:picLocks noChangeAspect="1"/>
            </p:cNvPicPr>
            <p:nvPr/>
          </p:nvPicPr>
          <p:blipFill rotWithShape="1">
            <a:blip r:embed="rId8"/>
            <a:srcRect t="16647" b="16647"/>
            <a:stretch>
              <a:fillRect/>
            </a:stretch>
          </p:blipFill>
          <p:spPr>
            <a:xfrm>
              <a:off x="10247503" y="833359"/>
              <a:ext cx="1272984" cy="1272726"/>
            </a:xfrm>
            <a:prstGeom prst="rect">
              <a:avLst/>
            </a:prstGeom>
            <a:ln w="3175">
              <a:miter lim="400000"/>
              <a:headEnd/>
              <a:tailEnd/>
            </a:ln>
          </p:spPr>
        </p:pic>
        <p:pic>
          <p:nvPicPr>
            <p:cNvPr id="51" name="图片 50"/>
            <p:cNvPicPr>
              <a:picLocks noChangeAspect="1"/>
            </p:cNvPicPr>
            <p:nvPr/>
          </p:nvPicPr>
          <p:blipFill rotWithShape="1">
            <a:blip r:embed="rId9"/>
            <a:srcRect r="1078"/>
            <a:stretch>
              <a:fillRect/>
            </a:stretch>
          </p:blipFill>
          <p:spPr>
            <a:xfrm>
              <a:off x="6195296" y="2175902"/>
              <a:ext cx="2638617" cy="1281386"/>
            </a:xfrm>
            <a:prstGeom prst="rect">
              <a:avLst/>
            </a:prstGeom>
          </p:spPr>
        </p:pic>
        <p:pic>
          <p:nvPicPr>
            <p:cNvPr id="52" name="图片 51"/>
            <p:cNvPicPr>
              <a:picLocks noChangeAspect="1"/>
            </p:cNvPicPr>
            <p:nvPr/>
          </p:nvPicPr>
          <p:blipFill>
            <a:blip r:embed="rId10"/>
            <a:srcRect t="9498" b="9498"/>
            <a:stretch>
              <a:fillRect/>
            </a:stretch>
          </p:blipFill>
          <p:spPr>
            <a:xfrm>
              <a:off x="10250583" y="2175902"/>
              <a:ext cx="1272984" cy="1272726"/>
            </a:xfrm>
            <a:prstGeom prst="rect">
              <a:avLst/>
            </a:prstGeom>
          </p:spPr>
        </p:pic>
        <p:pic>
          <p:nvPicPr>
            <p:cNvPr id="53" name="图片 52"/>
            <p:cNvPicPr>
              <a:picLocks noChangeAspect="1"/>
            </p:cNvPicPr>
            <p:nvPr/>
          </p:nvPicPr>
          <p:blipFill rotWithShape="1">
            <a:blip r:embed="rId11"/>
            <a:srcRect l="21227" r="21227"/>
            <a:stretch>
              <a:fillRect/>
            </a:stretch>
          </p:blipFill>
          <p:spPr>
            <a:xfrm>
              <a:off x="6199481" y="816205"/>
              <a:ext cx="1274658" cy="1274400"/>
            </a:xfrm>
            <a:prstGeom prst="rect">
              <a:avLst/>
            </a:prstGeom>
          </p:spPr>
        </p:pic>
        <p:pic>
          <p:nvPicPr>
            <p:cNvPr id="54" name="图片 53"/>
            <p:cNvPicPr>
              <a:picLocks noChangeAspect="1"/>
            </p:cNvPicPr>
            <p:nvPr/>
          </p:nvPicPr>
          <p:blipFill rotWithShape="1">
            <a:blip r:embed="rId12"/>
            <a:srcRect l="22265" r="22265"/>
            <a:stretch>
              <a:fillRect/>
            </a:stretch>
          </p:blipFill>
          <p:spPr>
            <a:xfrm>
              <a:off x="7559255" y="831685"/>
              <a:ext cx="1274658" cy="1274400"/>
            </a:xfrm>
            <a:prstGeom prst="rect">
              <a:avLst/>
            </a:prstGeom>
          </p:spPr>
        </p:pic>
      </p:grpSp>
      <p:grpSp>
        <p:nvGrpSpPr>
          <p:cNvPr id="11" name="组合 10"/>
          <p:cNvGrpSpPr/>
          <p:nvPr/>
        </p:nvGrpSpPr>
        <p:grpSpPr>
          <a:xfrm>
            <a:off x="613182" y="4188546"/>
            <a:ext cx="4502538" cy="1686032"/>
            <a:chOff x="5577839" y="2262704"/>
            <a:chExt cx="4502538" cy="1686032"/>
          </a:xfrm>
        </p:grpSpPr>
        <p:sp>
          <p:nvSpPr>
            <p:cNvPr id="10" name="矩形 9"/>
            <p:cNvSpPr/>
            <p:nvPr/>
          </p:nvSpPr>
          <p:spPr>
            <a:xfrm>
              <a:off x="5577839" y="2262704"/>
              <a:ext cx="4502538" cy="168603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pSp>
          <p:nvGrpSpPr>
            <p:cNvPr id="9" name="组合 8"/>
            <p:cNvGrpSpPr/>
            <p:nvPr/>
          </p:nvGrpSpPr>
          <p:grpSpPr>
            <a:xfrm>
              <a:off x="5834953" y="2319303"/>
              <a:ext cx="4128580" cy="1517374"/>
              <a:chOff x="5680553" y="2480979"/>
              <a:chExt cx="4128580" cy="1517374"/>
            </a:xfrm>
          </p:grpSpPr>
          <p:pic>
            <p:nvPicPr>
              <p:cNvPr id="55" name="图片 54"/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680553" y="2589692"/>
                <a:ext cx="773161" cy="560613"/>
              </a:xfrm>
              <a:prstGeom prst="rect">
                <a:avLst/>
              </a:prstGeom>
            </p:spPr>
          </p:pic>
          <p:pic>
            <p:nvPicPr>
              <p:cNvPr id="56" name="图片 55"/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8984770" y="2480979"/>
                <a:ext cx="824363" cy="682231"/>
              </a:xfrm>
              <a:prstGeom prst="rect">
                <a:avLst/>
              </a:prstGeom>
            </p:spPr>
          </p:pic>
          <p:pic>
            <p:nvPicPr>
              <p:cNvPr id="57" name="图片 56"/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7407431" y="2589692"/>
                <a:ext cx="1361643" cy="573518"/>
              </a:xfrm>
              <a:prstGeom prst="rect">
                <a:avLst/>
              </a:prstGeom>
            </p:spPr>
          </p:pic>
          <p:pic>
            <p:nvPicPr>
              <p:cNvPr id="58" name="图片 57"/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7408817" y="3285467"/>
                <a:ext cx="1372371" cy="712886"/>
              </a:xfrm>
              <a:prstGeom prst="rect">
                <a:avLst/>
              </a:prstGeom>
            </p:spPr>
          </p:pic>
          <p:pic>
            <p:nvPicPr>
              <p:cNvPr id="59" name="图片 58"/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8905243" y="3355151"/>
                <a:ext cx="848417" cy="573518"/>
              </a:xfrm>
              <a:prstGeom prst="rect">
                <a:avLst/>
              </a:prstGeom>
            </p:spPr>
          </p:pic>
          <p:pic>
            <p:nvPicPr>
              <p:cNvPr id="60" name="图片 59"/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6616464" y="2555993"/>
                <a:ext cx="609600" cy="638175"/>
              </a:xfrm>
              <a:prstGeom prst="rect">
                <a:avLst/>
              </a:prstGeom>
            </p:spPr>
          </p:pic>
          <p:pic>
            <p:nvPicPr>
              <p:cNvPr id="61" name="图片 60"/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5724524" y="3499066"/>
                <a:ext cx="1520190" cy="394970"/>
              </a:xfrm>
              <a:prstGeom prst="rect">
                <a:avLst/>
              </a:prstGeom>
            </p:spPr>
          </p:pic>
        </p:grpSp>
      </p:grpSp>
      <p:sp>
        <p:nvSpPr>
          <p:cNvPr id="14" name="矩形 13"/>
          <p:cNvSpPr/>
          <p:nvPr/>
        </p:nvSpPr>
        <p:spPr>
          <a:xfrm>
            <a:off x="669924" y="1464222"/>
            <a:ext cx="5320752" cy="5835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我们在上海和湛江有两家研发中心</a:t>
            </a:r>
          </a:p>
          <a:p>
            <a:r>
              <a:rPr lang="zh-CN" altLang="en-US" sz="1600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和多家合作伙伴共同配合研发</a:t>
            </a:r>
            <a:endParaRPr lang="zh-CN" altLang="en-US" sz="1600" b="1" dirty="0">
              <a:solidFill>
                <a:srgbClr val="00336C"/>
              </a:solidFill>
            </a:endParaRPr>
          </a:p>
        </p:txBody>
      </p:sp>
      <p:sp>
        <p:nvSpPr>
          <p:cNvPr id="63" name="等腰三角形 62"/>
          <p:cNvSpPr/>
          <p:nvPr/>
        </p:nvSpPr>
        <p:spPr>
          <a:xfrm rot="5400000">
            <a:off x="5451380" y="3611226"/>
            <a:ext cx="1248229" cy="169637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64" name="图表 63"/>
          <p:cNvGraphicFramePr/>
          <p:nvPr/>
        </p:nvGraphicFramePr>
        <p:xfrm>
          <a:off x="6647037" y="4562816"/>
          <a:ext cx="4868661" cy="201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5" name="矩形 14"/>
          <p:cNvSpPr/>
          <p:nvPr/>
        </p:nvSpPr>
        <p:spPr>
          <a:xfrm>
            <a:off x="6676469" y="1106807"/>
            <a:ext cx="4845607" cy="596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共开发了</a:t>
            </a:r>
            <a:r>
              <a:rPr lang="en-US" altLang="zh-CN" sz="1600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</a:t>
            </a:r>
            <a:r>
              <a:rPr lang="zh-CN" altLang="en-US" sz="1600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款知名菜品，包括火锅系列，快煮系列，调理系列</a:t>
            </a:r>
          </a:p>
        </p:txBody>
      </p:sp>
      <p:sp>
        <p:nvSpPr>
          <p:cNvPr id="65" name="矩形 64"/>
          <p:cNvSpPr/>
          <p:nvPr/>
        </p:nvSpPr>
        <p:spPr>
          <a:xfrm>
            <a:off x="6676470" y="4260385"/>
            <a:ext cx="4839228" cy="5962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>
                <a:solidFill>
                  <a:srgbClr val="00336C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预制菜品和调理食品，解放后厨</a:t>
            </a:r>
          </a:p>
          <a:p>
            <a:endParaRPr lang="zh-CN" altLang="en-US" sz="1600" b="1" dirty="0">
              <a:solidFill>
                <a:srgbClr val="00336C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最好的产品研发，为客户创造价值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19</a:t>
            </a:fld>
            <a:endParaRPr lang="zh-CN" altLang="en-US"/>
          </a:p>
        </p:txBody>
      </p:sp>
      <p:cxnSp>
        <p:nvCxnSpPr>
          <p:cNvPr id="5" name="直接连接符 4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grpSp>
        <p:nvGrpSpPr>
          <p:cNvPr id="7" name="组合 6"/>
          <p:cNvGrpSpPr/>
          <p:nvPr/>
        </p:nvGrpSpPr>
        <p:grpSpPr>
          <a:xfrm>
            <a:off x="1321455" y="1291959"/>
            <a:ext cx="9733935" cy="4948500"/>
            <a:chOff x="895379" y="1055975"/>
            <a:chExt cx="7037732" cy="3548393"/>
          </a:xfrm>
        </p:grpSpPr>
        <p:pic>
          <p:nvPicPr>
            <p:cNvPr id="8" name="图片 22" descr="图片 2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901325" y="2688981"/>
              <a:ext cx="3031786" cy="1915387"/>
            </a:xfrm>
            <a:prstGeom prst="rect">
              <a:avLst/>
            </a:prstGeom>
            <a:ln w="19050">
              <a:solidFill>
                <a:schemeClr val="bg1"/>
              </a:solidFill>
              <a:miter lim="400000"/>
              <a:headEnd/>
              <a:tailEnd/>
            </a:ln>
          </p:spPr>
        </p:pic>
        <p:pic>
          <p:nvPicPr>
            <p:cNvPr id="9" name="图片 18" descr="图片 1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219012" y="1055975"/>
              <a:ext cx="3249936" cy="2092477"/>
            </a:xfrm>
            <a:prstGeom prst="rect">
              <a:avLst/>
            </a:prstGeom>
            <a:ln w="19050">
              <a:solidFill>
                <a:schemeClr val="bg1"/>
              </a:solidFill>
              <a:miter lim="400000"/>
              <a:headEnd/>
              <a:tailEnd/>
            </a:ln>
          </p:spPr>
        </p:pic>
        <p:pic>
          <p:nvPicPr>
            <p:cNvPr id="10" name="图片 4" descr="图片 4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258705" y="2706631"/>
              <a:ext cx="3481749" cy="1889478"/>
            </a:xfrm>
            <a:prstGeom prst="rect">
              <a:avLst/>
            </a:prstGeom>
            <a:ln w="19050">
              <a:solidFill>
                <a:schemeClr val="bg1"/>
              </a:solidFill>
              <a:miter lim="400000"/>
              <a:headEnd/>
              <a:tailEnd/>
            </a:ln>
          </p:spPr>
        </p:pic>
        <p:pic>
          <p:nvPicPr>
            <p:cNvPr id="11" name="图片 20" descr="图片 2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95379" y="1086627"/>
              <a:ext cx="3147805" cy="2055911"/>
            </a:xfrm>
            <a:prstGeom prst="rect">
              <a:avLst/>
            </a:prstGeom>
            <a:ln w="19050">
              <a:solidFill>
                <a:schemeClr val="bg1"/>
              </a:solidFill>
              <a:miter lim="400000"/>
              <a:headEnd/>
              <a:tailEnd/>
            </a:ln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图片 3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43"/>
          <a:stretch>
            <a:fillRect/>
          </a:stretch>
        </p:blipFill>
        <p:spPr>
          <a:xfrm>
            <a:off x="5446768" y="0"/>
            <a:ext cx="6745231" cy="6857996"/>
          </a:xfrm>
          <a:prstGeom prst="rect">
            <a:avLst/>
          </a:prstGeom>
        </p:spPr>
      </p:pic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Guolian</a:t>
            </a:r>
            <a:r>
              <a:rPr lang="en-US" altLang="zh-CN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fld>
            <a:endParaRPr lang="zh-CN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33" name="413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1816102" y="1123950"/>
            <a:ext cx="6959598" cy="3651250"/>
            <a:chOff x="1816102" y="1123950"/>
            <a:chExt cx="6959598" cy="3651250"/>
          </a:xfrm>
        </p:grpSpPr>
        <p:sp>
          <p:nvSpPr>
            <p:cNvPr id="34" name="íṡḻíḍê"/>
            <p:cNvSpPr/>
            <p:nvPr/>
          </p:nvSpPr>
          <p:spPr>
            <a:xfrm>
              <a:off x="1816102" y="1123950"/>
              <a:ext cx="6959598" cy="69078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zh-CN" altLang="en-US" sz="3200" b="1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目录</a:t>
              </a:r>
            </a:p>
          </p:txBody>
        </p:sp>
        <p:grpSp>
          <p:nvGrpSpPr>
            <p:cNvPr id="35" name="íṩļíḑe"/>
            <p:cNvGrpSpPr/>
            <p:nvPr/>
          </p:nvGrpSpPr>
          <p:grpSpPr>
            <a:xfrm>
              <a:off x="1828331" y="2441018"/>
              <a:ext cx="3618438" cy="838966"/>
              <a:chOff x="2311400" y="2833372"/>
              <a:chExt cx="3618438" cy="838966"/>
            </a:xfrm>
          </p:grpSpPr>
          <p:sp>
            <p:nvSpPr>
              <p:cNvPr id="50" name="ïṥ1iḓe"/>
              <p:cNvSpPr/>
              <p:nvPr/>
            </p:nvSpPr>
            <p:spPr>
              <a:xfrm>
                <a:off x="2311400" y="2833372"/>
                <a:ext cx="594355" cy="594355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51" name="îṩḻîďê"/>
              <p:cNvGrpSpPr/>
              <p:nvPr/>
            </p:nvGrpSpPr>
            <p:grpSpPr>
              <a:xfrm>
                <a:off x="2455374" y="2991031"/>
                <a:ext cx="289720" cy="279034"/>
                <a:chOff x="2291555" y="2935469"/>
                <a:chExt cx="289720" cy="279034"/>
              </a:xfrm>
              <a:solidFill>
                <a:schemeClr val="bg1"/>
              </a:solidFill>
            </p:grpSpPr>
            <p:sp>
              <p:nvSpPr>
                <p:cNvPr id="53" name="íŝlíḋe"/>
                <p:cNvSpPr/>
                <p:nvPr/>
              </p:nvSpPr>
              <p:spPr bwMode="auto">
                <a:xfrm>
                  <a:off x="2291555" y="2935469"/>
                  <a:ext cx="279400" cy="279034"/>
                </a:xfrm>
                <a:custGeom>
                  <a:avLst/>
                  <a:gdLst>
                    <a:gd name="connsiteX0" fmla="*/ 87370 w 606580"/>
                    <a:gd name="connsiteY0" fmla="*/ 401200 h 605786"/>
                    <a:gd name="connsiteX1" fmla="*/ 237170 w 606580"/>
                    <a:gd name="connsiteY1" fmla="*/ 451726 h 605786"/>
                    <a:gd name="connsiteX2" fmla="*/ 228905 w 606580"/>
                    <a:gd name="connsiteY2" fmla="*/ 476108 h 605786"/>
                    <a:gd name="connsiteX3" fmla="*/ 79104 w 606580"/>
                    <a:gd name="connsiteY3" fmla="*/ 425582 h 605786"/>
                    <a:gd name="connsiteX4" fmla="*/ 580768 w 606580"/>
                    <a:gd name="connsiteY4" fmla="*/ 350386 h 605786"/>
                    <a:gd name="connsiteX5" fmla="*/ 316243 w 606580"/>
                    <a:gd name="connsiteY5" fmla="*/ 437617 h 605786"/>
                    <a:gd name="connsiteX6" fmla="*/ 316243 w 606580"/>
                    <a:gd name="connsiteY6" fmla="*/ 574350 h 605786"/>
                    <a:gd name="connsiteX7" fmla="*/ 580768 w 606580"/>
                    <a:gd name="connsiteY7" fmla="*/ 475253 h 605786"/>
                    <a:gd name="connsiteX8" fmla="*/ 87370 w 606580"/>
                    <a:gd name="connsiteY8" fmla="*/ 310717 h 605786"/>
                    <a:gd name="connsiteX9" fmla="*/ 237170 w 606580"/>
                    <a:gd name="connsiteY9" fmla="*/ 361243 h 605786"/>
                    <a:gd name="connsiteX10" fmla="*/ 228905 w 606580"/>
                    <a:gd name="connsiteY10" fmla="*/ 385625 h 605786"/>
                    <a:gd name="connsiteX11" fmla="*/ 79104 w 606580"/>
                    <a:gd name="connsiteY11" fmla="*/ 335099 h 605786"/>
                    <a:gd name="connsiteX12" fmla="*/ 87370 w 606580"/>
                    <a:gd name="connsiteY12" fmla="*/ 220327 h 605786"/>
                    <a:gd name="connsiteX13" fmla="*/ 237170 w 606580"/>
                    <a:gd name="connsiteY13" fmla="*/ 270853 h 605786"/>
                    <a:gd name="connsiteX14" fmla="*/ 228905 w 606580"/>
                    <a:gd name="connsiteY14" fmla="*/ 295235 h 605786"/>
                    <a:gd name="connsiteX15" fmla="*/ 79104 w 606580"/>
                    <a:gd name="connsiteY15" fmla="*/ 244709 h 605786"/>
                    <a:gd name="connsiteX16" fmla="*/ 87370 w 606580"/>
                    <a:gd name="connsiteY16" fmla="*/ 129844 h 605786"/>
                    <a:gd name="connsiteX17" fmla="*/ 237170 w 606580"/>
                    <a:gd name="connsiteY17" fmla="*/ 180370 h 605786"/>
                    <a:gd name="connsiteX18" fmla="*/ 228905 w 606580"/>
                    <a:gd name="connsiteY18" fmla="*/ 204752 h 605786"/>
                    <a:gd name="connsiteX19" fmla="*/ 79104 w 606580"/>
                    <a:gd name="connsiteY19" fmla="*/ 154226 h 605786"/>
                    <a:gd name="connsiteX20" fmla="*/ 532394 w 606580"/>
                    <a:gd name="connsiteY20" fmla="*/ 128184 h 605786"/>
                    <a:gd name="connsiteX21" fmla="*/ 364617 w 606580"/>
                    <a:gd name="connsiteY21" fmla="*/ 191035 h 605786"/>
                    <a:gd name="connsiteX22" fmla="*/ 364617 w 606580"/>
                    <a:gd name="connsiteY22" fmla="*/ 394604 h 605786"/>
                    <a:gd name="connsiteX23" fmla="*/ 532394 w 606580"/>
                    <a:gd name="connsiteY23" fmla="*/ 339170 h 605786"/>
                    <a:gd name="connsiteX24" fmla="*/ 580768 w 606580"/>
                    <a:gd name="connsiteY24" fmla="*/ 31591 h 605786"/>
                    <a:gd name="connsiteX25" fmla="*/ 316243 w 606580"/>
                    <a:gd name="connsiteY25" fmla="*/ 130687 h 605786"/>
                    <a:gd name="connsiteX26" fmla="*/ 316243 w 606580"/>
                    <a:gd name="connsiteY26" fmla="*/ 410549 h 605786"/>
                    <a:gd name="connsiteX27" fmla="*/ 338805 w 606580"/>
                    <a:gd name="connsiteY27" fmla="*/ 403040 h 605786"/>
                    <a:gd name="connsiteX28" fmla="*/ 338805 w 606580"/>
                    <a:gd name="connsiteY28" fmla="*/ 182136 h 605786"/>
                    <a:gd name="connsiteX29" fmla="*/ 347161 w 606580"/>
                    <a:gd name="connsiteY29" fmla="*/ 170085 h 605786"/>
                    <a:gd name="connsiteX30" fmla="*/ 540843 w 606580"/>
                    <a:gd name="connsiteY30" fmla="*/ 97500 h 605786"/>
                    <a:gd name="connsiteX31" fmla="*/ 552728 w 606580"/>
                    <a:gd name="connsiteY31" fmla="*/ 98984 h 605786"/>
                    <a:gd name="connsiteX32" fmla="*/ 558299 w 606580"/>
                    <a:gd name="connsiteY32" fmla="*/ 109644 h 605786"/>
                    <a:gd name="connsiteX33" fmla="*/ 558299 w 606580"/>
                    <a:gd name="connsiteY33" fmla="*/ 330641 h 605786"/>
                    <a:gd name="connsiteX34" fmla="*/ 580768 w 606580"/>
                    <a:gd name="connsiteY34" fmla="*/ 323225 h 605786"/>
                    <a:gd name="connsiteX35" fmla="*/ 25812 w 606580"/>
                    <a:gd name="connsiteY35" fmla="*/ 31591 h 605786"/>
                    <a:gd name="connsiteX36" fmla="*/ 25812 w 606580"/>
                    <a:gd name="connsiteY36" fmla="*/ 475253 h 605786"/>
                    <a:gd name="connsiteX37" fmla="*/ 290431 w 606580"/>
                    <a:gd name="connsiteY37" fmla="*/ 574350 h 605786"/>
                    <a:gd name="connsiteX38" fmla="*/ 290431 w 606580"/>
                    <a:gd name="connsiteY38" fmla="*/ 130687 h 605786"/>
                    <a:gd name="connsiteX39" fmla="*/ 17455 w 606580"/>
                    <a:gd name="connsiteY39" fmla="*/ 1000 h 605786"/>
                    <a:gd name="connsiteX40" fmla="*/ 303337 w 606580"/>
                    <a:gd name="connsiteY40" fmla="*/ 107975 h 605786"/>
                    <a:gd name="connsiteX41" fmla="*/ 589125 w 606580"/>
                    <a:gd name="connsiteY41" fmla="*/ 1000 h 605786"/>
                    <a:gd name="connsiteX42" fmla="*/ 606580 w 606580"/>
                    <a:gd name="connsiteY42" fmla="*/ 13051 h 605786"/>
                    <a:gd name="connsiteX43" fmla="*/ 606580 w 606580"/>
                    <a:gd name="connsiteY43" fmla="*/ 484153 h 605786"/>
                    <a:gd name="connsiteX44" fmla="*/ 598224 w 606580"/>
                    <a:gd name="connsiteY44" fmla="*/ 496204 h 605786"/>
                    <a:gd name="connsiteX45" fmla="*/ 307886 w 606580"/>
                    <a:gd name="connsiteY45" fmla="*/ 604941 h 605786"/>
                    <a:gd name="connsiteX46" fmla="*/ 298787 w 606580"/>
                    <a:gd name="connsiteY46" fmla="*/ 604941 h 605786"/>
                    <a:gd name="connsiteX47" fmla="*/ 8356 w 606580"/>
                    <a:gd name="connsiteY47" fmla="*/ 496204 h 605786"/>
                    <a:gd name="connsiteX48" fmla="*/ 0 w 606580"/>
                    <a:gd name="connsiteY48" fmla="*/ 484153 h 605786"/>
                    <a:gd name="connsiteX49" fmla="*/ 0 w 606580"/>
                    <a:gd name="connsiteY49" fmla="*/ 13051 h 605786"/>
                    <a:gd name="connsiteX50" fmla="*/ 17455 w 606580"/>
                    <a:gd name="connsiteY50" fmla="*/ 1000 h 6057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</a:cxnLst>
                  <a:rect l="l" t="t" r="r" b="b"/>
                  <a:pathLst>
                    <a:path w="606580" h="605786">
                      <a:moveTo>
                        <a:pt x="87370" y="401200"/>
                      </a:moveTo>
                      <a:lnTo>
                        <a:pt x="237170" y="451726"/>
                      </a:lnTo>
                      <a:lnTo>
                        <a:pt x="228905" y="476108"/>
                      </a:lnTo>
                      <a:lnTo>
                        <a:pt x="79104" y="425582"/>
                      </a:lnTo>
                      <a:close/>
                      <a:moveTo>
                        <a:pt x="580768" y="350386"/>
                      </a:moveTo>
                      <a:lnTo>
                        <a:pt x="316243" y="437617"/>
                      </a:lnTo>
                      <a:lnTo>
                        <a:pt x="316243" y="574350"/>
                      </a:lnTo>
                      <a:lnTo>
                        <a:pt x="580768" y="475253"/>
                      </a:lnTo>
                      <a:close/>
                      <a:moveTo>
                        <a:pt x="87370" y="310717"/>
                      </a:moveTo>
                      <a:lnTo>
                        <a:pt x="237170" y="361243"/>
                      </a:lnTo>
                      <a:lnTo>
                        <a:pt x="228905" y="385625"/>
                      </a:lnTo>
                      <a:lnTo>
                        <a:pt x="79104" y="335099"/>
                      </a:lnTo>
                      <a:close/>
                      <a:moveTo>
                        <a:pt x="87370" y="220327"/>
                      </a:moveTo>
                      <a:lnTo>
                        <a:pt x="237170" y="270853"/>
                      </a:lnTo>
                      <a:lnTo>
                        <a:pt x="228905" y="295235"/>
                      </a:lnTo>
                      <a:lnTo>
                        <a:pt x="79104" y="244709"/>
                      </a:lnTo>
                      <a:close/>
                      <a:moveTo>
                        <a:pt x="87370" y="129844"/>
                      </a:moveTo>
                      <a:lnTo>
                        <a:pt x="237170" y="180370"/>
                      </a:lnTo>
                      <a:lnTo>
                        <a:pt x="228905" y="204752"/>
                      </a:lnTo>
                      <a:lnTo>
                        <a:pt x="79104" y="154226"/>
                      </a:lnTo>
                      <a:close/>
                      <a:moveTo>
                        <a:pt x="532394" y="128184"/>
                      </a:moveTo>
                      <a:lnTo>
                        <a:pt x="364617" y="191035"/>
                      </a:lnTo>
                      <a:lnTo>
                        <a:pt x="364617" y="394604"/>
                      </a:lnTo>
                      <a:lnTo>
                        <a:pt x="532394" y="339170"/>
                      </a:lnTo>
                      <a:close/>
                      <a:moveTo>
                        <a:pt x="580768" y="31591"/>
                      </a:moveTo>
                      <a:lnTo>
                        <a:pt x="316243" y="130687"/>
                      </a:lnTo>
                      <a:lnTo>
                        <a:pt x="316243" y="410549"/>
                      </a:lnTo>
                      <a:lnTo>
                        <a:pt x="338805" y="403040"/>
                      </a:lnTo>
                      <a:lnTo>
                        <a:pt x="338805" y="182136"/>
                      </a:lnTo>
                      <a:cubicBezTo>
                        <a:pt x="338805" y="176759"/>
                        <a:pt x="342147" y="171939"/>
                        <a:pt x="347161" y="170085"/>
                      </a:cubicBezTo>
                      <a:lnTo>
                        <a:pt x="540843" y="97500"/>
                      </a:lnTo>
                      <a:cubicBezTo>
                        <a:pt x="544836" y="96017"/>
                        <a:pt x="549200" y="96573"/>
                        <a:pt x="552728" y="98984"/>
                      </a:cubicBezTo>
                      <a:cubicBezTo>
                        <a:pt x="556163" y="101394"/>
                        <a:pt x="558299" y="105380"/>
                        <a:pt x="558299" y="109644"/>
                      </a:cubicBezTo>
                      <a:lnTo>
                        <a:pt x="558299" y="330641"/>
                      </a:lnTo>
                      <a:lnTo>
                        <a:pt x="580768" y="323225"/>
                      </a:lnTo>
                      <a:close/>
                      <a:moveTo>
                        <a:pt x="25812" y="31591"/>
                      </a:moveTo>
                      <a:lnTo>
                        <a:pt x="25812" y="475253"/>
                      </a:lnTo>
                      <a:lnTo>
                        <a:pt x="290431" y="574350"/>
                      </a:lnTo>
                      <a:lnTo>
                        <a:pt x="290431" y="130687"/>
                      </a:lnTo>
                      <a:close/>
                      <a:moveTo>
                        <a:pt x="17455" y="1000"/>
                      </a:moveTo>
                      <a:lnTo>
                        <a:pt x="303337" y="107975"/>
                      </a:lnTo>
                      <a:lnTo>
                        <a:pt x="589125" y="1000"/>
                      </a:lnTo>
                      <a:cubicBezTo>
                        <a:pt x="599802" y="-3172"/>
                        <a:pt x="606580" y="6654"/>
                        <a:pt x="606580" y="13051"/>
                      </a:cubicBezTo>
                      <a:lnTo>
                        <a:pt x="606580" y="484153"/>
                      </a:lnTo>
                      <a:cubicBezTo>
                        <a:pt x="606580" y="489529"/>
                        <a:pt x="603238" y="494350"/>
                        <a:pt x="598224" y="496204"/>
                      </a:cubicBezTo>
                      <a:lnTo>
                        <a:pt x="307886" y="604941"/>
                      </a:lnTo>
                      <a:cubicBezTo>
                        <a:pt x="307701" y="605034"/>
                        <a:pt x="303430" y="606795"/>
                        <a:pt x="298787" y="604941"/>
                      </a:cubicBezTo>
                      <a:lnTo>
                        <a:pt x="8356" y="496204"/>
                      </a:lnTo>
                      <a:cubicBezTo>
                        <a:pt x="3342" y="494350"/>
                        <a:pt x="0" y="489529"/>
                        <a:pt x="0" y="484153"/>
                      </a:cubicBezTo>
                      <a:lnTo>
                        <a:pt x="0" y="13051"/>
                      </a:lnTo>
                      <a:cubicBezTo>
                        <a:pt x="0" y="8786"/>
                        <a:pt x="5106" y="-2523"/>
                        <a:pt x="17455" y="1000"/>
                      </a:cubicBez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54" name="íšḻiḍe"/>
                <p:cNvSpPr/>
                <p:nvPr/>
              </p:nvSpPr>
              <p:spPr bwMode="auto">
                <a:xfrm>
                  <a:off x="2471738" y="3121024"/>
                  <a:ext cx="109537" cy="73025"/>
                </a:xfrm>
                <a:custGeom>
                  <a:avLst/>
                  <a:gdLst/>
                  <a:ahLst/>
                  <a:cxnLst>
                    <a:cxn ang="0">
                      <a:pos x="24" y="31"/>
                    </a:cxn>
                    <a:cxn ang="0">
                      <a:pos x="20" y="31"/>
                    </a:cxn>
                    <a:cxn ang="0">
                      <a:pos x="2" y="17"/>
                    </a:cxn>
                    <a:cxn ang="0">
                      <a:pos x="1" y="14"/>
                    </a:cxn>
                    <a:cxn ang="0">
                      <a:pos x="4" y="11"/>
                    </a:cxn>
                    <a:cxn ang="0">
                      <a:pos x="7" y="10"/>
                    </a:cxn>
                    <a:cxn ang="0">
                      <a:pos x="19" y="19"/>
                    </a:cxn>
                    <a:cxn ang="0">
                      <a:pos x="23" y="18"/>
                    </a:cxn>
                    <a:cxn ang="0">
                      <a:pos x="40" y="1"/>
                    </a:cxn>
                    <a:cxn ang="0">
                      <a:pos x="44" y="1"/>
                    </a:cxn>
                    <a:cxn ang="0">
                      <a:pos x="47" y="3"/>
                    </a:cxn>
                    <a:cxn ang="0">
                      <a:pos x="47" y="7"/>
                    </a:cxn>
                    <a:cxn ang="0">
                      <a:pos x="24" y="31"/>
                    </a:cxn>
                  </a:cxnLst>
                  <a:rect l="0" t="0" r="r" b="b"/>
                  <a:pathLst>
                    <a:path w="48" h="32">
                      <a:moveTo>
                        <a:pt x="24" y="31"/>
                      </a:moveTo>
                      <a:cubicBezTo>
                        <a:pt x="23" y="32"/>
                        <a:pt x="21" y="32"/>
                        <a:pt x="20" y="31"/>
                      </a:cubicBezTo>
                      <a:cubicBezTo>
                        <a:pt x="2" y="17"/>
                        <a:pt x="2" y="17"/>
                        <a:pt x="2" y="17"/>
                      </a:cubicBezTo>
                      <a:cubicBezTo>
                        <a:pt x="1" y="17"/>
                        <a:pt x="0" y="15"/>
                        <a:pt x="1" y="14"/>
                      </a:cubicBezTo>
                      <a:cubicBezTo>
                        <a:pt x="4" y="11"/>
                        <a:pt x="4" y="11"/>
                        <a:pt x="4" y="11"/>
                      </a:cubicBezTo>
                      <a:cubicBezTo>
                        <a:pt x="4" y="9"/>
                        <a:pt x="6" y="9"/>
                        <a:pt x="7" y="10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20" y="20"/>
                        <a:pt x="22" y="20"/>
                        <a:pt x="23" y="18"/>
                      </a:cubicBezTo>
                      <a:cubicBezTo>
                        <a:pt x="40" y="1"/>
                        <a:pt x="40" y="1"/>
                        <a:pt x="40" y="1"/>
                      </a:cubicBezTo>
                      <a:cubicBezTo>
                        <a:pt x="41" y="0"/>
                        <a:pt x="43" y="0"/>
                        <a:pt x="44" y="1"/>
                      </a:cubicBezTo>
                      <a:cubicBezTo>
                        <a:pt x="47" y="3"/>
                        <a:pt x="47" y="3"/>
                        <a:pt x="47" y="3"/>
                      </a:cubicBezTo>
                      <a:cubicBezTo>
                        <a:pt x="48" y="4"/>
                        <a:pt x="48" y="6"/>
                        <a:pt x="47" y="7"/>
                      </a:cubicBezTo>
                      <a:lnTo>
                        <a:pt x="24" y="31"/>
                      </a:lnTo>
                      <a:close/>
                    </a:path>
                  </a:pathLst>
                </a:custGeom>
                <a:grpFill/>
                <a:ln w="9525">
                  <a:noFill/>
                  <a:round/>
                </a:ln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sp>
            <p:nvSpPr>
              <p:cNvPr id="52" name="îS1íḓê"/>
              <p:cNvSpPr txBox="1"/>
              <p:nvPr/>
            </p:nvSpPr>
            <p:spPr bwMode="auto">
              <a:xfrm>
                <a:off x="3066406" y="2912983"/>
                <a:ext cx="2863432" cy="759355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1.</a:t>
                </a:r>
                <a:r>
                  <a:rPr lang="zh-CN" altLang="en-US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水产品总量及消费趋势</a:t>
                </a:r>
              </a:p>
            </p:txBody>
          </p:sp>
        </p:grpSp>
        <p:grpSp>
          <p:nvGrpSpPr>
            <p:cNvPr id="36" name="iṧ1îḋê"/>
            <p:cNvGrpSpPr/>
            <p:nvPr/>
          </p:nvGrpSpPr>
          <p:grpSpPr>
            <a:xfrm>
              <a:off x="1828331" y="3806899"/>
              <a:ext cx="3618438" cy="819290"/>
              <a:chOff x="2311400" y="2833372"/>
              <a:chExt cx="3618438" cy="819290"/>
            </a:xfrm>
          </p:grpSpPr>
          <p:sp>
            <p:nvSpPr>
              <p:cNvPr id="45" name="íṡḷîde"/>
              <p:cNvSpPr/>
              <p:nvPr/>
            </p:nvSpPr>
            <p:spPr>
              <a:xfrm>
                <a:off x="2311400" y="2833372"/>
                <a:ext cx="594355" cy="594355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9" name="isļíḓe"/>
              <p:cNvSpPr/>
              <p:nvPr/>
            </p:nvSpPr>
            <p:spPr bwMode="auto">
              <a:xfrm>
                <a:off x="2635557" y="3176586"/>
                <a:ext cx="109537" cy="73025"/>
              </a:xfrm>
              <a:custGeom>
                <a:avLst/>
                <a:gdLst/>
                <a:ahLst/>
                <a:cxnLst>
                  <a:cxn ang="0">
                    <a:pos x="24" y="31"/>
                  </a:cxn>
                  <a:cxn ang="0">
                    <a:pos x="20" y="31"/>
                  </a:cxn>
                  <a:cxn ang="0">
                    <a:pos x="2" y="17"/>
                  </a:cxn>
                  <a:cxn ang="0">
                    <a:pos x="1" y="14"/>
                  </a:cxn>
                  <a:cxn ang="0">
                    <a:pos x="4" y="11"/>
                  </a:cxn>
                  <a:cxn ang="0">
                    <a:pos x="7" y="10"/>
                  </a:cxn>
                  <a:cxn ang="0">
                    <a:pos x="19" y="19"/>
                  </a:cxn>
                  <a:cxn ang="0">
                    <a:pos x="23" y="18"/>
                  </a:cxn>
                  <a:cxn ang="0">
                    <a:pos x="40" y="1"/>
                  </a:cxn>
                  <a:cxn ang="0">
                    <a:pos x="44" y="1"/>
                  </a:cxn>
                  <a:cxn ang="0">
                    <a:pos x="47" y="3"/>
                  </a:cxn>
                  <a:cxn ang="0">
                    <a:pos x="47" y="7"/>
                  </a:cxn>
                  <a:cxn ang="0">
                    <a:pos x="24" y="31"/>
                  </a:cxn>
                </a:cxnLst>
                <a:rect l="0" t="0" r="r" b="b"/>
                <a:pathLst>
                  <a:path w="48" h="32">
                    <a:moveTo>
                      <a:pt x="24" y="31"/>
                    </a:moveTo>
                    <a:cubicBezTo>
                      <a:pt x="23" y="32"/>
                      <a:pt x="21" y="32"/>
                      <a:pt x="20" y="31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1" y="17"/>
                      <a:pt x="0" y="15"/>
                      <a:pt x="1" y="14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4" y="9"/>
                      <a:pt x="6" y="9"/>
                      <a:pt x="7" y="10"/>
                    </a:cubicBezTo>
                    <a:cubicBezTo>
                      <a:pt x="19" y="19"/>
                      <a:pt x="19" y="19"/>
                      <a:pt x="19" y="19"/>
                    </a:cubicBezTo>
                    <a:cubicBezTo>
                      <a:pt x="20" y="20"/>
                      <a:pt x="22" y="20"/>
                      <a:pt x="23" y="18"/>
                    </a:cubicBezTo>
                    <a:cubicBezTo>
                      <a:pt x="40" y="1"/>
                      <a:pt x="40" y="1"/>
                      <a:pt x="40" y="1"/>
                    </a:cubicBezTo>
                    <a:cubicBezTo>
                      <a:pt x="41" y="0"/>
                      <a:pt x="43" y="0"/>
                      <a:pt x="44" y="1"/>
                    </a:cubicBezTo>
                    <a:cubicBezTo>
                      <a:pt x="47" y="3"/>
                      <a:pt x="47" y="3"/>
                      <a:pt x="47" y="3"/>
                    </a:cubicBezTo>
                    <a:cubicBezTo>
                      <a:pt x="48" y="4"/>
                      <a:pt x="48" y="6"/>
                      <a:pt x="47" y="7"/>
                    </a:cubicBezTo>
                    <a:lnTo>
                      <a:pt x="24" y="3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7" name="îṡḻïḓè"/>
              <p:cNvSpPr txBox="1"/>
              <p:nvPr/>
            </p:nvSpPr>
            <p:spPr bwMode="auto">
              <a:xfrm>
                <a:off x="3066406" y="2905691"/>
                <a:ext cx="2863432" cy="74697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2. </a:t>
                </a:r>
                <a:r>
                  <a:rPr lang="zh-CN" altLang="en-US" b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国联水产供应链各环节创新分享</a:t>
                </a:r>
              </a:p>
            </p:txBody>
          </p:sp>
        </p:grpSp>
        <p:cxnSp>
          <p:nvCxnSpPr>
            <p:cNvPr id="38" name="直接连接符 37"/>
            <p:cNvCxnSpPr/>
            <p:nvPr/>
          </p:nvCxnSpPr>
          <p:spPr>
            <a:xfrm>
              <a:off x="2583337" y="3128133"/>
              <a:ext cx="27252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直接连接符 38"/>
            <p:cNvCxnSpPr/>
            <p:nvPr/>
          </p:nvCxnSpPr>
          <p:spPr>
            <a:xfrm>
              <a:off x="2583337" y="4775200"/>
              <a:ext cx="272526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fish-black-grouper-side-view_47373"/>
          <p:cNvSpPr>
            <a:spLocks noChangeAspect="1"/>
          </p:cNvSpPr>
          <p:nvPr/>
        </p:nvSpPr>
        <p:spPr bwMode="auto">
          <a:xfrm>
            <a:off x="1897506" y="4024230"/>
            <a:ext cx="428998" cy="203057"/>
          </a:xfrm>
          <a:custGeom>
            <a:avLst/>
            <a:gdLst>
              <a:gd name="T0" fmla="*/ 7529 w 7575"/>
              <a:gd name="T1" fmla="*/ 1961 h 3591"/>
              <a:gd name="T2" fmla="*/ 7143 w 7575"/>
              <a:gd name="T3" fmla="*/ 2058 h 3591"/>
              <a:gd name="T4" fmla="*/ 7114 w 7575"/>
              <a:gd name="T5" fmla="*/ 2022 h 3591"/>
              <a:gd name="T6" fmla="*/ 7303 w 7575"/>
              <a:gd name="T7" fmla="*/ 1637 h 3591"/>
              <a:gd name="T8" fmla="*/ 7282 w 7575"/>
              <a:gd name="T9" fmla="*/ 1557 h 3591"/>
              <a:gd name="T10" fmla="*/ 6818 w 7575"/>
              <a:gd name="T11" fmla="*/ 1250 h 3591"/>
              <a:gd name="T12" fmla="*/ 5649 w 7575"/>
              <a:gd name="T13" fmla="*/ 795 h 3591"/>
              <a:gd name="T14" fmla="*/ 5416 w 7575"/>
              <a:gd name="T15" fmla="*/ 610 h 3591"/>
              <a:gd name="T16" fmla="*/ 4760 w 7575"/>
              <a:gd name="T17" fmla="*/ 32 h 3591"/>
              <a:gd name="T18" fmla="*/ 4419 w 7575"/>
              <a:gd name="T19" fmla="*/ 68 h 3591"/>
              <a:gd name="T20" fmla="*/ 3108 w 7575"/>
              <a:gd name="T21" fmla="*/ 606 h 3591"/>
              <a:gd name="T22" fmla="*/ 2372 w 7575"/>
              <a:gd name="T23" fmla="*/ 798 h 3591"/>
              <a:gd name="T24" fmla="*/ 2190 w 7575"/>
              <a:gd name="T25" fmla="*/ 856 h 3591"/>
              <a:gd name="T26" fmla="*/ 2028 w 7575"/>
              <a:gd name="T27" fmla="*/ 1136 h 3591"/>
              <a:gd name="T28" fmla="*/ 2161 w 7575"/>
              <a:gd name="T29" fmla="*/ 1297 h 3591"/>
              <a:gd name="T30" fmla="*/ 2152 w 7575"/>
              <a:gd name="T31" fmla="*/ 1359 h 3591"/>
              <a:gd name="T32" fmla="*/ 1284 w 7575"/>
              <a:gd name="T33" fmla="*/ 1227 h 3591"/>
              <a:gd name="T34" fmla="*/ 539 w 7575"/>
              <a:gd name="T35" fmla="*/ 619 h 3591"/>
              <a:gd name="T36" fmla="*/ 79 w 7575"/>
              <a:gd name="T37" fmla="*/ 364 h 3591"/>
              <a:gd name="T38" fmla="*/ 58 w 7575"/>
              <a:gd name="T39" fmla="*/ 388 h 3591"/>
              <a:gd name="T40" fmla="*/ 17 w 7575"/>
              <a:gd name="T41" fmla="*/ 2793 h 3591"/>
              <a:gd name="T42" fmla="*/ 36 w 7575"/>
              <a:gd name="T43" fmla="*/ 2816 h 3591"/>
              <a:gd name="T44" fmla="*/ 571 w 7575"/>
              <a:gd name="T45" fmla="*/ 2578 h 3591"/>
              <a:gd name="T46" fmla="*/ 1182 w 7575"/>
              <a:gd name="T47" fmla="*/ 2207 h 3591"/>
              <a:gd name="T48" fmla="*/ 2213 w 7575"/>
              <a:gd name="T49" fmla="*/ 2123 h 3591"/>
              <a:gd name="T50" fmla="*/ 2248 w 7575"/>
              <a:gd name="T51" fmla="*/ 2194 h 3591"/>
              <a:gd name="T52" fmla="*/ 2190 w 7575"/>
              <a:gd name="T53" fmla="*/ 2461 h 3591"/>
              <a:gd name="T54" fmla="*/ 2804 w 7575"/>
              <a:gd name="T55" fmla="*/ 2777 h 3591"/>
              <a:gd name="T56" fmla="*/ 3339 w 7575"/>
              <a:gd name="T57" fmla="*/ 2591 h 3591"/>
              <a:gd name="T58" fmla="*/ 3549 w 7575"/>
              <a:gd name="T59" fmla="*/ 2581 h 3591"/>
              <a:gd name="T60" fmla="*/ 5144 w 7575"/>
              <a:gd name="T61" fmla="*/ 2788 h 3591"/>
              <a:gd name="T62" fmla="*/ 5164 w 7575"/>
              <a:gd name="T63" fmla="*/ 2798 h 3591"/>
              <a:gd name="T64" fmla="*/ 5156 w 7575"/>
              <a:gd name="T65" fmla="*/ 2860 h 3591"/>
              <a:gd name="T66" fmla="*/ 5233 w 7575"/>
              <a:gd name="T67" fmla="*/ 3556 h 3591"/>
              <a:gd name="T68" fmla="*/ 5318 w 7575"/>
              <a:gd name="T69" fmla="*/ 3579 h 3591"/>
              <a:gd name="T70" fmla="*/ 5650 w 7575"/>
              <a:gd name="T71" fmla="*/ 2794 h 3591"/>
              <a:gd name="T72" fmla="*/ 5725 w 7575"/>
              <a:gd name="T73" fmla="*/ 2732 h 3591"/>
              <a:gd name="T74" fmla="*/ 7528 w 7575"/>
              <a:gd name="T75" fmla="*/ 2118 h 3591"/>
              <a:gd name="T76" fmla="*/ 7568 w 7575"/>
              <a:gd name="T77" fmla="*/ 2001 h 3591"/>
              <a:gd name="T78" fmla="*/ 7529 w 7575"/>
              <a:gd name="T79" fmla="*/ 1961 h 35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575" h="3591">
                <a:moveTo>
                  <a:pt x="7529" y="1961"/>
                </a:moveTo>
                <a:cubicBezTo>
                  <a:pt x="7401" y="1993"/>
                  <a:pt x="7290" y="2021"/>
                  <a:pt x="7143" y="2058"/>
                </a:cubicBezTo>
                <a:cubicBezTo>
                  <a:pt x="7113" y="2065"/>
                  <a:pt x="7100" y="2049"/>
                  <a:pt x="7114" y="2022"/>
                </a:cubicBezTo>
                <a:cubicBezTo>
                  <a:pt x="7181" y="1886"/>
                  <a:pt x="7236" y="1772"/>
                  <a:pt x="7303" y="1637"/>
                </a:cubicBezTo>
                <a:cubicBezTo>
                  <a:pt x="7316" y="1610"/>
                  <a:pt x="7306" y="1574"/>
                  <a:pt x="7282" y="1557"/>
                </a:cubicBezTo>
                <a:cubicBezTo>
                  <a:pt x="7136" y="1452"/>
                  <a:pt x="6989" y="1325"/>
                  <a:pt x="6818" y="1250"/>
                </a:cubicBezTo>
                <a:cubicBezTo>
                  <a:pt x="6436" y="1082"/>
                  <a:pt x="6037" y="952"/>
                  <a:pt x="5649" y="795"/>
                </a:cubicBezTo>
                <a:cubicBezTo>
                  <a:pt x="5559" y="759"/>
                  <a:pt x="5450" y="691"/>
                  <a:pt x="5416" y="610"/>
                </a:cubicBezTo>
                <a:cubicBezTo>
                  <a:pt x="5288" y="307"/>
                  <a:pt x="5056" y="127"/>
                  <a:pt x="4760" y="32"/>
                </a:cubicBezTo>
                <a:cubicBezTo>
                  <a:pt x="4660" y="0"/>
                  <a:pt x="4523" y="27"/>
                  <a:pt x="4419" y="68"/>
                </a:cubicBezTo>
                <a:cubicBezTo>
                  <a:pt x="3979" y="240"/>
                  <a:pt x="3550" y="440"/>
                  <a:pt x="3108" y="606"/>
                </a:cubicBezTo>
                <a:cubicBezTo>
                  <a:pt x="2872" y="694"/>
                  <a:pt x="2618" y="735"/>
                  <a:pt x="2372" y="798"/>
                </a:cubicBezTo>
                <a:cubicBezTo>
                  <a:pt x="2309" y="814"/>
                  <a:pt x="2227" y="815"/>
                  <a:pt x="2190" y="856"/>
                </a:cubicBezTo>
                <a:cubicBezTo>
                  <a:pt x="2118" y="937"/>
                  <a:pt x="2036" y="1037"/>
                  <a:pt x="2028" y="1136"/>
                </a:cubicBezTo>
                <a:cubicBezTo>
                  <a:pt x="2024" y="1187"/>
                  <a:pt x="2101" y="1244"/>
                  <a:pt x="2161" y="1297"/>
                </a:cubicBezTo>
                <a:cubicBezTo>
                  <a:pt x="2184" y="1317"/>
                  <a:pt x="2179" y="1346"/>
                  <a:pt x="2152" y="1359"/>
                </a:cubicBezTo>
                <a:cubicBezTo>
                  <a:pt x="1855" y="1501"/>
                  <a:pt x="1581" y="1467"/>
                  <a:pt x="1284" y="1227"/>
                </a:cubicBezTo>
                <a:cubicBezTo>
                  <a:pt x="1035" y="1025"/>
                  <a:pt x="795" y="810"/>
                  <a:pt x="539" y="619"/>
                </a:cubicBezTo>
                <a:cubicBezTo>
                  <a:pt x="399" y="514"/>
                  <a:pt x="239" y="437"/>
                  <a:pt x="79" y="364"/>
                </a:cubicBezTo>
                <a:cubicBezTo>
                  <a:pt x="52" y="351"/>
                  <a:pt x="43" y="362"/>
                  <a:pt x="58" y="388"/>
                </a:cubicBezTo>
                <a:cubicBezTo>
                  <a:pt x="554" y="1197"/>
                  <a:pt x="568" y="1978"/>
                  <a:pt x="17" y="2793"/>
                </a:cubicBezTo>
                <a:cubicBezTo>
                  <a:pt x="0" y="2818"/>
                  <a:pt x="8" y="2828"/>
                  <a:pt x="36" y="2816"/>
                </a:cubicBezTo>
                <a:cubicBezTo>
                  <a:pt x="216" y="2740"/>
                  <a:pt x="399" y="2670"/>
                  <a:pt x="571" y="2578"/>
                </a:cubicBezTo>
                <a:cubicBezTo>
                  <a:pt x="781" y="2467"/>
                  <a:pt x="973" y="2321"/>
                  <a:pt x="1182" y="2207"/>
                </a:cubicBezTo>
                <a:cubicBezTo>
                  <a:pt x="1600" y="1981"/>
                  <a:pt x="1793" y="1970"/>
                  <a:pt x="2213" y="2123"/>
                </a:cubicBezTo>
                <a:cubicBezTo>
                  <a:pt x="2241" y="2133"/>
                  <a:pt x="2258" y="2165"/>
                  <a:pt x="2248" y="2194"/>
                </a:cubicBezTo>
                <a:cubicBezTo>
                  <a:pt x="2215" y="2291"/>
                  <a:pt x="2165" y="2389"/>
                  <a:pt x="2190" y="2461"/>
                </a:cubicBezTo>
                <a:cubicBezTo>
                  <a:pt x="2262" y="2665"/>
                  <a:pt x="2623" y="2834"/>
                  <a:pt x="2804" y="2777"/>
                </a:cubicBezTo>
                <a:cubicBezTo>
                  <a:pt x="2984" y="2721"/>
                  <a:pt x="3159" y="2647"/>
                  <a:pt x="3339" y="2591"/>
                </a:cubicBezTo>
                <a:cubicBezTo>
                  <a:pt x="3405" y="2571"/>
                  <a:pt x="3492" y="2554"/>
                  <a:pt x="3549" y="2581"/>
                </a:cubicBezTo>
                <a:cubicBezTo>
                  <a:pt x="4061" y="2815"/>
                  <a:pt x="4596" y="2842"/>
                  <a:pt x="5144" y="2788"/>
                </a:cubicBezTo>
                <a:cubicBezTo>
                  <a:pt x="5150" y="2788"/>
                  <a:pt x="5157" y="2792"/>
                  <a:pt x="5164" y="2798"/>
                </a:cubicBezTo>
                <a:cubicBezTo>
                  <a:pt x="5174" y="2806"/>
                  <a:pt x="5170" y="2834"/>
                  <a:pt x="5156" y="2860"/>
                </a:cubicBezTo>
                <a:cubicBezTo>
                  <a:pt x="4971" y="3207"/>
                  <a:pt x="4975" y="3234"/>
                  <a:pt x="5233" y="3556"/>
                </a:cubicBezTo>
                <a:cubicBezTo>
                  <a:pt x="5252" y="3579"/>
                  <a:pt x="5290" y="3591"/>
                  <a:pt x="5318" y="3579"/>
                </a:cubicBezTo>
                <a:cubicBezTo>
                  <a:pt x="5667" y="3429"/>
                  <a:pt x="5549" y="3070"/>
                  <a:pt x="5650" y="2794"/>
                </a:cubicBezTo>
                <a:cubicBezTo>
                  <a:pt x="5661" y="2765"/>
                  <a:pt x="5695" y="2739"/>
                  <a:pt x="5725" y="2732"/>
                </a:cubicBezTo>
                <a:cubicBezTo>
                  <a:pt x="6337" y="2602"/>
                  <a:pt x="6969" y="2466"/>
                  <a:pt x="7528" y="2118"/>
                </a:cubicBezTo>
                <a:cubicBezTo>
                  <a:pt x="7550" y="2104"/>
                  <a:pt x="7555" y="2061"/>
                  <a:pt x="7568" y="2001"/>
                </a:cubicBezTo>
                <a:cubicBezTo>
                  <a:pt x="7575" y="1971"/>
                  <a:pt x="7558" y="1954"/>
                  <a:pt x="7529" y="196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最好的产品研发，为客户创造价值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0</a:t>
            </a:fld>
            <a:endParaRPr lang="zh-CN" altLang="en-US"/>
          </a:p>
        </p:txBody>
      </p:sp>
      <p:cxnSp>
        <p:nvCxnSpPr>
          <p:cNvPr id="5" name="直接连接符 4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pic>
        <p:nvPicPr>
          <p:cNvPr id="7" name="图片 6" descr="DSC_8536r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5268" y="1241268"/>
            <a:ext cx="3732738" cy="2449573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8" name="图片 7" descr="虾滑元素图 (10)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215268" y="3690841"/>
            <a:ext cx="3732738" cy="2226211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9" name="图片 8" descr="微信图片_20180814162014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948006" y="1241267"/>
            <a:ext cx="6028726" cy="4717079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最好的产品研发，为客户创造价值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1</a:t>
            </a:fld>
            <a:endParaRPr lang="zh-CN" altLang="en-US"/>
          </a:p>
        </p:txBody>
      </p:sp>
      <p:cxnSp>
        <p:nvCxnSpPr>
          <p:cNvPr id="5" name="直接连接符 4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pic>
        <p:nvPicPr>
          <p:cNvPr id="33" name="图片 32" descr="P67A4848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45383" y="2135714"/>
            <a:ext cx="4834624" cy="3335799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34" name="图片 33" descr="P67A4842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80007" y="1589889"/>
            <a:ext cx="5842579" cy="4427451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最好的产品研发，为客户创造价值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2</a:t>
            </a:fld>
            <a:endParaRPr lang="zh-CN" altLang="en-US"/>
          </a:p>
        </p:txBody>
      </p:sp>
      <p:cxnSp>
        <p:nvCxnSpPr>
          <p:cNvPr id="5" name="直接连接符 4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grpSp>
        <p:nvGrpSpPr>
          <p:cNvPr id="7" name="组合 6"/>
          <p:cNvGrpSpPr/>
          <p:nvPr/>
        </p:nvGrpSpPr>
        <p:grpSpPr>
          <a:xfrm>
            <a:off x="1061770" y="1539732"/>
            <a:ext cx="9964124" cy="3899469"/>
            <a:chOff x="-176314" y="1203657"/>
            <a:chExt cx="8836938" cy="2914914"/>
          </a:xfrm>
        </p:grpSpPr>
        <p:pic>
          <p:nvPicPr>
            <p:cNvPr id="8" name="图片 7" descr="IMG_9491433 副本.jpg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-176314" y="1230452"/>
              <a:ext cx="4372372" cy="2888119"/>
            </a:xfrm>
            <a:prstGeom prst="rect">
              <a:avLst/>
            </a:prstGeom>
            <a:ln w="19050">
              <a:solidFill>
                <a:schemeClr val="bg1"/>
              </a:solidFill>
            </a:ln>
          </p:spPr>
        </p:pic>
        <p:pic>
          <p:nvPicPr>
            <p:cNvPr id="9" name="图片 8" descr="DPP_029.JP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288252" y="1203657"/>
              <a:ext cx="4372372" cy="2914914"/>
            </a:xfrm>
            <a:prstGeom prst="rect">
              <a:avLst/>
            </a:prstGeom>
            <a:ln w="19050">
              <a:solidFill>
                <a:schemeClr val="bg1"/>
              </a:solidFill>
            </a:ln>
          </p:spPr>
        </p:pic>
      </p:grp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最好的产品研发，为客户创造价值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3</a:t>
            </a:fld>
            <a:endParaRPr lang="zh-CN" altLang="en-US"/>
          </a:p>
        </p:txBody>
      </p:sp>
      <p:cxnSp>
        <p:nvCxnSpPr>
          <p:cNvPr id="5" name="直接连接符 4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pic>
        <p:nvPicPr>
          <p:cNvPr id="7" name="图片 6" descr="DSC_53909副本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90751" y="1294389"/>
            <a:ext cx="6670029" cy="4451577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8" name="图片 7" descr="DSC_53936副本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332991" y="2067800"/>
            <a:ext cx="4883594" cy="3259310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最好的产品研发，为客户创造价值</a:t>
            </a:r>
            <a:endParaRPr lang="en-US" altLang="zh-CN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4</a:t>
            </a:fld>
            <a:endParaRPr lang="zh-CN" altLang="en-US"/>
          </a:p>
        </p:txBody>
      </p:sp>
      <p:cxnSp>
        <p:nvCxnSpPr>
          <p:cNvPr id="5" name="直接连接符 4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pic>
        <p:nvPicPr>
          <p:cNvPr id="7" name="图片 6" descr="1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1414719"/>
            <a:ext cx="4277161" cy="3823905"/>
          </a:xfrm>
          <a:prstGeom prst="rect">
            <a:avLst/>
          </a:prstGeom>
        </p:spPr>
      </p:pic>
      <p:pic>
        <p:nvPicPr>
          <p:cNvPr id="8" name="图片 7" descr="333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317591" y="1284658"/>
            <a:ext cx="5625463" cy="4158623"/>
          </a:xfrm>
          <a:prstGeom prst="rect">
            <a:avLst/>
          </a:prstGeom>
        </p:spPr>
      </p:pic>
      <p:pic>
        <p:nvPicPr>
          <p:cNvPr id="9" name="图片 8" descr="222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5549073" y="1259514"/>
            <a:ext cx="6289092" cy="4446612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</p:spPr>
        <p:txBody>
          <a:bodyPr/>
          <a:lstStyle/>
          <a:p>
            <a:r>
              <a:rPr lang="zh-CN" alt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多年来服务多家大客户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25</a:t>
            </a:fld>
            <a:endParaRPr lang="zh-CN" altLang="en-US"/>
          </a:p>
        </p:txBody>
      </p:sp>
      <p:cxnSp>
        <p:nvCxnSpPr>
          <p:cNvPr id="5" name="直接连接符 4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1104902" y="3941452"/>
            <a:ext cx="9853383" cy="6076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多年来，我们为多家大客户提供产品，包括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CN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YUM (8700 stores)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 </a:t>
            </a: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呷哺</a:t>
            </a: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呷哺</a:t>
            </a:r>
            <a:r>
              <a:rPr lang="en-US" altLang="zh-CN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1000 stores)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zh-CN" altLang="en-US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海底捞</a:t>
            </a:r>
            <a:r>
              <a:rPr lang="en-US" altLang="zh-CN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550 stores), </a:t>
            </a:r>
            <a:r>
              <a:rPr lang="zh-CN" altLang="en-US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汉堡王</a:t>
            </a:r>
            <a:r>
              <a:rPr lang="en-US" altLang="zh-CN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1100 stores), Domino’s Pizza (250 stores), </a:t>
            </a:r>
            <a:r>
              <a:rPr lang="zh-CN" altLang="en-US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赛百味</a:t>
            </a:r>
            <a:r>
              <a:rPr lang="en-US" altLang="zh-CN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900 stores), </a:t>
            </a:r>
            <a:r>
              <a:rPr lang="zh-CN" altLang="en-US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沃尔玛</a:t>
            </a:r>
            <a:r>
              <a:rPr lang="en-US" altLang="zh-CN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896 stores), </a:t>
            </a:r>
            <a:r>
              <a:rPr lang="zh-CN" altLang="en-US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永辉超市</a:t>
            </a:r>
            <a:r>
              <a:rPr lang="en-US" altLang="zh-CN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600 stores), </a:t>
            </a:r>
            <a:r>
              <a:rPr lang="zh-CN" altLang="en-US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红龙虾</a:t>
            </a:r>
            <a:r>
              <a:rPr lang="en-US" altLang="zh-CN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700 stores) </a:t>
            </a: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tc.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ïśḷïḍê"/>
          <p:cNvSpPr/>
          <p:nvPr/>
        </p:nvSpPr>
        <p:spPr bwMode="auto">
          <a:xfrm>
            <a:off x="-9525" y="5041630"/>
            <a:ext cx="12211050" cy="1816370"/>
          </a:xfrm>
          <a:custGeom>
            <a:avLst/>
            <a:gdLst>
              <a:gd name="T0" fmla="*/ 1889 w 1889"/>
              <a:gd name="T1" fmla="*/ 0 h 283"/>
              <a:gd name="T2" fmla="*/ 971 w 1889"/>
              <a:gd name="T3" fmla="*/ 177 h 283"/>
              <a:gd name="T4" fmla="*/ 0 w 1889"/>
              <a:gd name="T5" fmla="*/ 0 h 283"/>
              <a:gd name="T6" fmla="*/ 0 w 1889"/>
              <a:gd name="T7" fmla="*/ 283 h 283"/>
              <a:gd name="T8" fmla="*/ 1889 w 1889"/>
              <a:gd name="T9" fmla="*/ 283 h 283"/>
              <a:gd name="T10" fmla="*/ 1889 w 1889"/>
              <a:gd name="T11" fmla="*/ 0 h 2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889" h="283">
                <a:moveTo>
                  <a:pt x="1889" y="0"/>
                </a:moveTo>
                <a:cubicBezTo>
                  <a:pt x="1889" y="0"/>
                  <a:pt x="1608" y="177"/>
                  <a:pt x="971" y="177"/>
                </a:cubicBezTo>
                <a:cubicBezTo>
                  <a:pt x="446" y="177"/>
                  <a:pt x="0" y="0"/>
                  <a:pt x="0" y="0"/>
                </a:cubicBezTo>
                <a:cubicBezTo>
                  <a:pt x="0" y="283"/>
                  <a:pt x="0" y="283"/>
                  <a:pt x="0" y="283"/>
                </a:cubicBezTo>
                <a:cubicBezTo>
                  <a:pt x="1889" y="283"/>
                  <a:pt x="1889" y="283"/>
                  <a:pt x="1889" y="283"/>
                </a:cubicBezTo>
                <a:lnTo>
                  <a:pt x="1889" y="0"/>
                </a:lnTo>
                <a:close/>
              </a:path>
            </a:pathLst>
          </a:custGeom>
          <a:solidFill>
            <a:schemeClr val="accent2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/>
          </a:p>
        </p:txBody>
      </p:sp>
      <p:sp>
        <p:nvSpPr>
          <p:cNvPr id="10" name="îṡḷídé"/>
          <p:cNvSpPr/>
          <p:nvPr/>
        </p:nvSpPr>
        <p:spPr bwMode="auto">
          <a:xfrm>
            <a:off x="-9525" y="4242752"/>
            <a:ext cx="9790695" cy="2615248"/>
          </a:xfrm>
          <a:custGeom>
            <a:avLst/>
            <a:gdLst>
              <a:gd name="T0" fmla="*/ 0 w 1515"/>
              <a:gd name="T1" fmla="*/ 94 h 407"/>
              <a:gd name="T2" fmla="*/ 1515 w 1515"/>
              <a:gd name="T3" fmla="*/ 232 h 407"/>
              <a:gd name="T4" fmla="*/ 2 w 1515"/>
              <a:gd name="T5" fmla="*/ 0 h 407"/>
              <a:gd name="T6" fmla="*/ 0 w 1515"/>
              <a:gd name="T7" fmla="*/ 94 h 4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515" h="407">
                <a:moveTo>
                  <a:pt x="0" y="94"/>
                </a:moveTo>
                <a:cubicBezTo>
                  <a:pt x="0" y="94"/>
                  <a:pt x="681" y="407"/>
                  <a:pt x="1515" y="232"/>
                </a:cubicBezTo>
                <a:cubicBezTo>
                  <a:pt x="1515" y="232"/>
                  <a:pt x="802" y="396"/>
                  <a:pt x="2" y="0"/>
                </a:cubicBezTo>
                <a:lnTo>
                  <a:pt x="0" y="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dirty="0"/>
          </a:p>
        </p:txBody>
      </p:sp>
      <p:grpSp>
        <p:nvGrpSpPr>
          <p:cNvPr id="11" name="组合 10"/>
          <p:cNvGrpSpPr/>
          <p:nvPr/>
        </p:nvGrpSpPr>
        <p:grpSpPr>
          <a:xfrm>
            <a:off x="1104902" y="1314205"/>
            <a:ext cx="9982199" cy="2410271"/>
            <a:chOff x="1104902" y="1314205"/>
            <a:chExt cx="9982199" cy="2410271"/>
          </a:xfrm>
        </p:grpSpPr>
        <p:grpSp>
          <p:nvGrpSpPr>
            <p:cNvPr id="12" name="组合 11"/>
            <p:cNvGrpSpPr/>
            <p:nvPr/>
          </p:nvGrpSpPr>
          <p:grpSpPr>
            <a:xfrm>
              <a:off x="1104902" y="1314205"/>
              <a:ext cx="9982199" cy="2410271"/>
              <a:chOff x="1104902" y="1952835"/>
              <a:chExt cx="9982199" cy="2410271"/>
            </a:xfrm>
          </p:grpSpPr>
          <p:grpSp>
            <p:nvGrpSpPr>
              <p:cNvPr id="17" name="íṣľîḍê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    <p:cNvGrpSpPr>
                <a:grpSpLocks noChangeAspect="1"/>
              </p:cNvGrpSpPr>
              <p:nvPr/>
            </p:nvGrpSpPr>
            <p:grpSpPr>
              <a:xfrm>
                <a:off x="1104902" y="1952835"/>
                <a:ext cx="9982199" cy="2410271"/>
                <a:chOff x="1104900" y="1952836"/>
                <a:chExt cx="9982200" cy="2410272"/>
              </a:xfrm>
            </p:grpSpPr>
            <p:sp>
              <p:nvSpPr>
                <p:cNvPr id="25" name="ïṩlîḋè"/>
                <p:cNvSpPr/>
                <p:nvPr/>
              </p:nvSpPr>
              <p:spPr>
                <a:xfrm>
                  <a:off x="1104900" y="4207531"/>
                  <a:ext cx="9982200" cy="155577"/>
                </a:xfrm>
                <a:prstGeom prst="rect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6" name="îŝ1îdé"/>
                <p:cNvSpPr/>
                <p:nvPr/>
              </p:nvSpPr>
              <p:spPr>
                <a:xfrm>
                  <a:off x="1586027" y="3250430"/>
                  <a:ext cx="1429184" cy="910986"/>
                </a:xfrm>
                <a:prstGeom prst="rect">
                  <a:avLst/>
                </a:prstGeom>
                <a:solidFill>
                  <a:srgbClr val="D8D8D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7" name="iṥļíďe"/>
                <p:cNvSpPr/>
                <p:nvPr/>
              </p:nvSpPr>
              <p:spPr>
                <a:xfrm>
                  <a:off x="2436281" y="2891556"/>
                  <a:ext cx="1694198" cy="1269859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8" name="ïṡḻíḓe"/>
                <p:cNvSpPr/>
                <p:nvPr/>
              </p:nvSpPr>
              <p:spPr>
                <a:xfrm>
                  <a:off x="3368563" y="3432627"/>
                  <a:ext cx="2440339" cy="713606"/>
                </a:xfrm>
                <a:prstGeom prst="rect">
                  <a:avLst/>
                </a:prstGeom>
                <a:solidFill>
                  <a:schemeClr val="accent3">
                    <a:alpha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29" name="ísļidè"/>
                <p:cNvSpPr/>
                <p:nvPr/>
              </p:nvSpPr>
              <p:spPr>
                <a:xfrm>
                  <a:off x="3611492" y="2516120"/>
                  <a:ext cx="1667381" cy="1645296"/>
                </a:xfrm>
                <a:prstGeom prst="rect">
                  <a:avLst/>
                </a:prstGeom>
                <a:solidFill>
                  <a:schemeClr val="bg1">
                    <a:lumMod val="75000"/>
                    <a:alpha val="61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0" name="îṡḷidê"/>
                <p:cNvSpPr/>
                <p:nvPr/>
              </p:nvSpPr>
              <p:spPr>
                <a:xfrm>
                  <a:off x="4826140" y="3046148"/>
                  <a:ext cx="1247776" cy="1115268"/>
                </a:xfrm>
                <a:prstGeom prst="rect">
                  <a:avLst/>
                </a:prstGeom>
                <a:solidFill>
                  <a:schemeClr val="tx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1" name="iṧḻíďé"/>
                <p:cNvSpPr/>
                <p:nvPr/>
              </p:nvSpPr>
              <p:spPr>
                <a:xfrm>
                  <a:off x="5582537" y="2849672"/>
                  <a:ext cx="822648" cy="1311744"/>
                </a:xfrm>
                <a:prstGeom prst="rect">
                  <a:avLst/>
                </a:prstGeom>
                <a:solidFill>
                  <a:schemeClr val="accent6">
                    <a:alpha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2" name="ï$lïďè"/>
                <p:cNvSpPr/>
                <p:nvPr/>
              </p:nvSpPr>
              <p:spPr>
                <a:xfrm>
                  <a:off x="6272671" y="2498964"/>
                  <a:ext cx="2688003" cy="1660479"/>
                </a:xfrm>
                <a:prstGeom prst="rect">
                  <a:avLst/>
                </a:prstGeom>
                <a:solidFill>
                  <a:schemeClr val="accent2">
                    <a:lumMod val="50000"/>
                    <a:alpha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3" name="îšļíde"/>
                <p:cNvSpPr/>
                <p:nvPr/>
              </p:nvSpPr>
              <p:spPr>
                <a:xfrm>
                  <a:off x="7095319" y="2890570"/>
                  <a:ext cx="2810260" cy="1269859"/>
                </a:xfrm>
                <a:prstGeom prst="rect">
                  <a:avLst/>
                </a:prstGeom>
                <a:solidFill>
                  <a:schemeClr val="tx1">
                    <a:lumMod val="50000"/>
                    <a:lumOff val="50000"/>
                    <a:alpha val="6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4" name="ïṥḷide"/>
                <p:cNvSpPr/>
                <p:nvPr/>
              </p:nvSpPr>
              <p:spPr>
                <a:xfrm>
                  <a:off x="7666758" y="2238921"/>
                  <a:ext cx="985849" cy="1903366"/>
                </a:xfrm>
                <a:prstGeom prst="rect">
                  <a:avLst/>
                </a:prstGeom>
                <a:solidFill>
                  <a:schemeClr val="accent2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5" name="îṣļïdé"/>
                <p:cNvSpPr/>
                <p:nvPr/>
              </p:nvSpPr>
              <p:spPr>
                <a:xfrm>
                  <a:off x="9435724" y="3432627"/>
                  <a:ext cx="1247776" cy="724746"/>
                </a:xfrm>
                <a:prstGeom prst="rect">
                  <a:avLst/>
                </a:prstGeom>
                <a:solidFill>
                  <a:schemeClr val="bg1">
                    <a:lumMod val="75000"/>
                    <a:alpha val="61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6" name="îSľïḍe"/>
                <p:cNvSpPr/>
                <p:nvPr/>
              </p:nvSpPr>
              <p:spPr>
                <a:xfrm>
                  <a:off x="1563137" y="3338768"/>
                  <a:ext cx="1415030" cy="307777"/>
                </a:xfrm>
                <a:prstGeom prst="rect">
                  <a:avLst/>
                </a:prstGeom>
              </p:spPr>
              <p:txBody>
                <a:bodyPr wrap="square" lIns="91440" tIns="45720" rIns="91440" bIns="45720">
                  <a:normAutofit/>
                </a:bodyPr>
                <a:lstStyle/>
                <a:p>
                  <a:pPr algn="ctr"/>
                  <a:r>
                    <a:rPr lang="en-US" altLang="zh-CN" sz="1400" b="1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500 stores</a:t>
                  </a:r>
                  <a:endParaRPr lang="zh-CN" altLang="en-US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7" name="iṩľíḍé"/>
                <p:cNvSpPr/>
                <p:nvPr/>
              </p:nvSpPr>
              <p:spPr>
                <a:xfrm>
                  <a:off x="2551764" y="2938658"/>
                  <a:ext cx="1415030" cy="307777"/>
                </a:xfrm>
                <a:prstGeom prst="rect">
                  <a:avLst/>
                </a:prstGeom>
              </p:spPr>
              <p:txBody>
                <a:bodyPr wrap="square" lIns="91440" tIns="45720" rIns="91440" bIns="45720">
                  <a:normAutofit/>
                </a:bodyPr>
                <a:lstStyle/>
                <a:p>
                  <a:pPr algn="ctr"/>
                  <a:r>
                    <a:rPr lang="en-US" altLang="zh-CN" sz="1400" b="1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000 stores</a:t>
                  </a:r>
                  <a:endParaRPr lang="zh-CN" altLang="en-US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8" name="ïṥliḑè"/>
                <p:cNvSpPr/>
                <p:nvPr/>
              </p:nvSpPr>
              <p:spPr>
                <a:xfrm>
                  <a:off x="3737668" y="2194601"/>
                  <a:ext cx="1415030" cy="307777"/>
                </a:xfrm>
                <a:prstGeom prst="rect">
                  <a:avLst/>
                </a:prstGeom>
              </p:spPr>
              <p:txBody>
                <a:bodyPr wrap="square" lIns="91440" tIns="45720" rIns="91440" bIns="45720">
                  <a:normAutofit/>
                </a:bodyPr>
                <a:lstStyle/>
                <a:p>
                  <a:pPr algn="ctr"/>
                  <a:r>
                    <a:rPr lang="en-US" altLang="zh-CN" sz="1400" b="1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896 stores</a:t>
                  </a:r>
                </a:p>
              </p:txBody>
            </p:sp>
            <p:sp>
              <p:nvSpPr>
                <p:cNvPr id="39" name="îṡľîḍé"/>
                <p:cNvSpPr/>
                <p:nvPr/>
              </p:nvSpPr>
              <p:spPr>
                <a:xfrm>
                  <a:off x="4787235" y="3105587"/>
                  <a:ext cx="1415030" cy="307777"/>
                </a:xfrm>
                <a:prstGeom prst="rect">
                  <a:avLst/>
                </a:prstGeom>
              </p:spPr>
              <p:txBody>
                <a:bodyPr wrap="square" lIns="91440" tIns="45720" rIns="91440" bIns="45720">
                  <a:normAutofit/>
                </a:bodyPr>
                <a:lstStyle/>
                <a:p>
                  <a:pPr algn="ctr"/>
                  <a:r>
                    <a:rPr lang="en-US" altLang="zh-CN" sz="14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900 stores</a:t>
                  </a:r>
                  <a:endParaRPr lang="zh-CN" altLang="en-US" sz="14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0" name="işḷïḓè"/>
                <p:cNvSpPr/>
                <p:nvPr/>
              </p:nvSpPr>
              <p:spPr>
                <a:xfrm>
                  <a:off x="6387804" y="2541895"/>
                  <a:ext cx="1415030" cy="585215"/>
                </a:xfrm>
                <a:prstGeom prst="rect">
                  <a:avLst/>
                </a:prstGeom>
              </p:spPr>
              <p:txBody>
                <a:bodyPr wrap="square" lIns="91440" tIns="45720" rIns="91440" bIns="45720">
                  <a:normAutofit/>
                </a:bodyPr>
                <a:lstStyle/>
                <a:p>
                  <a:pPr algn="ctr"/>
                  <a:r>
                    <a:rPr lang="en-US" altLang="zh-CN" sz="14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8700</a:t>
                  </a:r>
                </a:p>
                <a:p>
                  <a:pPr algn="ctr"/>
                  <a:r>
                    <a:rPr lang="en-US" altLang="zh-CN" sz="14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stores</a:t>
                  </a:r>
                  <a:endParaRPr lang="zh-CN" altLang="en-US" sz="1400" b="1" dirty="0">
                    <a:solidFill>
                      <a:schemeClr val="bg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1" name="ïs1íḋê"/>
                <p:cNvSpPr/>
                <p:nvPr/>
              </p:nvSpPr>
              <p:spPr>
                <a:xfrm>
                  <a:off x="7452168" y="1952836"/>
                  <a:ext cx="1415030" cy="307777"/>
                </a:xfrm>
                <a:prstGeom prst="rect">
                  <a:avLst/>
                </a:prstGeom>
              </p:spPr>
              <p:txBody>
                <a:bodyPr wrap="square" lIns="91440" tIns="45720" rIns="91440" bIns="45720">
                  <a:normAutofit/>
                </a:bodyPr>
                <a:lstStyle/>
                <a:p>
                  <a:pPr algn="ctr"/>
                  <a:r>
                    <a:rPr lang="en-US" altLang="zh-CN" sz="1400" b="1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600 stores</a:t>
                  </a:r>
                  <a:endParaRPr lang="zh-CN" altLang="en-US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2" name="iṣļídé"/>
                <p:cNvSpPr/>
                <p:nvPr/>
              </p:nvSpPr>
              <p:spPr>
                <a:xfrm>
                  <a:off x="8728209" y="2607472"/>
                  <a:ext cx="1415030" cy="307777"/>
                </a:xfrm>
                <a:prstGeom prst="rect">
                  <a:avLst/>
                </a:prstGeom>
              </p:spPr>
              <p:txBody>
                <a:bodyPr wrap="square" lIns="91440" tIns="45720" rIns="91440" bIns="45720">
                  <a:normAutofit/>
                </a:bodyPr>
                <a:lstStyle/>
                <a:p>
                  <a:pPr algn="ctr"/>
                  <a:r>
                    <a:rPr lang="en-US" altLang="zh-CN" sz="1400" b="1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1100  stores</a:t>
                  </a:r>
                  <a:endParaRPr lang="zh-CN" altLang="en-US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3" name="ïṡ1idé"/>
                <p:cNvSpPr/>
                <p:nvPr/>
              </p:nvSpPr>
              <p:spPr>
                <a:xfrm>
                  <a:off x="9351320" y="3469980"/>
                  <a:ext cx="1415030" cy="307777"/>
                </a:xfrm>
                <a:prstGeom prst="rect">
                  <a:avLst/>
                </a:prstGeom>
              </p:spPr>
              <p:txBody>
                <a:bodyPr wrap="square" lIns="91440" tIns="45720" rIns="91440" bIns="45720">
                  <a:normAutofit/>
                </a:bodyPr>
                <a:lstStyle/>
                <a:p>
                  <a:pPr algn="ctr"/>
                  <a:r>
                    <a:rPr lang="en-US" altLang="zh-CN" sz="1400" b="1" dirty="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700 stores</a:t>
                  </a:r>
                  <a:endParaRPr lang="zh-CN" altLang="en-US" sz="1400" b="1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44" name="îṡľîḍé"/>
                <p:cNvSpPr/>
                <p:nvPr/>
              </p:nvSpPr>
              <p:spPr>
                <a:xfrm>
                  <a:off x="3524144" y="3456634"/>
                  <a:ext cx="1415030" cy="307777"/>
                </a:xfrm>
                <a:prstGeom prst="rect">
                  <a:avLst/>
                </a:prstGeom>
              </p:spPr>
              <p:txBody>
                <a:bodyPr wrap="square" lIns="91440" tIns="45720" rIns="91440" bIns="45720">
                  <a:normAutofit/>
                </a:bodyPr>
                <a:lstStyle/>
                <a:p>
                  <a:pPr algn="ctr"/>
                  <a:r>
                    <a:rPr lang="en-US" altLang="zh-CN" sz="1400" b="1" dirty="0">
                      <a:solidFill>
                        <a:schemeClr val="bg1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250 stores</a:t>
                  </a:r>
                </a:p>
              </p:txBody>
            </p:sp>
          </p:grpSp>
          <p:pic>
            <p:nvPicPr>
              <p:cNvPr id="18" name="Picture 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backgroundRemoval t="0" b="100000" l="0" r="100000">
                            <a14:foregroundMark x1="18474" y1="29630" x2="90629" y2="41385"/>
                            <a14:foregroundMark x1="6961" y1="32206" x2="42972" y2="53623"/>
                            <a14:foregroundMark x1="21821" y1="20129" x2="16734" y2="49597"/>
                            <a14:foregroundMark x1="17537" y1="25604" x2="17537" y2="25604"/>
                            <a14:foregroundMark x1="30656" y1="26087" x2="30656" y2="26087"/>
                            <a14:foregroundMark x1="16332" y1="24638" x2="55154" y2="57649"/>
                            <a14:foregroundMark x1="11245" y1="44444" x2="30656" y2="61192"/>
                            <a14:foregroundMark x1="10843" y1="44444" x2="34940" y2="14493"/>
                            <a14:foregroundMark x1="6961" y1="21578" x2="36546" y2="19002"/>
                            <a14:foregroundMark x1="68273" y1="23671" x2="33199" y2="54589"/>
                            <a14:foregroundMark x1="83534" y1="36232" x2="40830" y2="58132"/>
                            <a14:foregroundMark x1="87684" y1="22544" x2="84739" y2="54106"/>
                            <a14:foregroundMark x1="77108" y1="37359" x2="76305" y2="53140"/>
                            <a14:foregroundMark x1="65730" y1="48953" x2="63989" y2="55072"/>
                            <a14:foregroundMark x1="56894" y1="40419" x2="56493" y2="48953"/>
                            <a14:foregroundMark x1="24766" y1="32206" x2="63989" y2="58132"/>
                            <a14:foregroundMark x1="10442" y1="35749" x2="46319" y2="57166"/>
                            <a14:foregroundMark x1="20080" y1="31240" x2="97456" y2="343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67951" y="3256345"/>
                <a:ext cx="703954" cy="58521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9" name="Picture 4"/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32900" b="66357" l="10000" r="90000">
                            <a14:foregroundMark x1="47200" y1="41450" x2="47200" y2="41450"/>
                            <a14:foregroundMark x1="39867" y1="41078" x2="39867" y2="41078"/>
                            <a14:foregroundMark x1="40000" y1="46468" x2="40000" y2="46468"/>
                            <a14:foregroundMark x1="40667" y1="53346" x2="40667" y2="53346"/>
                            <a14:foregroundMark x1="44133" y1="50000" x2="44133" y2="50000"/>
                            <a14:foregroundMark x1="58133" y1="46840" x2="58133" y2="46840"/>
                            <a14:foregroundMark x1="61600" y1="45725" x2="61600" y2="45725"/>
                            <a14:foregroundMark x1="65200" y1="56691" x2="65200" y2="56691"/>
                            <a14:foregroundMark x1="76000" y1="43680" x2="76000" y2="43680"/>
                            <a14:foregroundMark x1="82133" y1="41636" x2="82133" y2="41636"/>
                            <a14:foregroundMark x1="82267" y1="45353" x2="82267" y2="45353"/>
                            <a14:foregroundMark x1="83733" y1="51115" x2="83733" y2="51115"/>
                            <a14:foregroundMark x1="17467" y1="40520" x2="29333" y2="62639"/>
                            <a14:foregroundMark x1="26800" y1="39405" x2="15200" y2="53346"/>
                            <a14:foregroundMark x1="14667" y1="47584" x2="22533" y2="64126"/>
                            <a14:foregroundMark x1="27467" y1="41450" x2="28933" y2="55019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8877" b="30634"/>
              <a:stretch>
                <a:fillRect/>
              </a:stretch>
            </p:blipFill>
            <p:spPr bwMode="auto">
              <a:xfrm>
                <a:off x="1486393" y="3638910"/>
                <a:ext cx="1697452" cy="49301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1" name="Picture 10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9894" b="89753" l="3125" r="98661">
                            <a14:foregroundMark x1="18750" y1="44876" x2="18750" y2="44876"/>
                            <a14:foregroundMark x1="22098" y1="49470" x2="22098" y2="49470"/>
                            <a14:foregroundMark x1="31027" y1="46996" x2="31027" y2="46996"/>
                            <a14:foregroundMark x1="36830" y1="44523" x2="36830" y2="44523"/>
                            <a14:foregroundMark x1="55804" y1="43816" x2="55804" y2="43816"/>
                            <a14:foregroundMark x1="61161" y1="43816" x2="61161" y2="43816"/>
                            <a14:foregroundMark x1="67634" y1="41696" x2="67634" y2="41696"/>
                            <a14:foregroundMark x1="79688" y1="37456" x2="79688" y2="37456"/>
                            <a14:foregroundMark x1="85268" y1="35336" x2="85268" y2="35336"/>
                            <a14:foregroundMark x1="92188" y1="39576" x2="92188" y2="39576"/>
                            <a14:foregroundMark x1="77232" y1="37456" x2="77232" y2="37456"/>
                            <a14:foregroundMark x1="79241" y1="50883" x2="79241" y2="50883"/>
                            <a14:foregroundMark x1="85714" y1="57951" x2="85714" y2="57951"/>
                            <a14:foregroundMark x1="93527" y1="54064" x2="93527" y2="54064"/>
                            <a14:foregroundMark x1="38170" y1="70318" x2="38170" y2="70318"/>
                            <a14:foregroundMark x1="34598" y1="75618" x2="34598" y2="75618"/>
                            <a14:foregroundMark x1="34598" y1="65371" x2="34598" y2="65371"/>
                            <a14:foregroundMark x1="44643" y1="78445" x2="44643" y2="78445"/>
                            <a14:foregroundMark x1="14955" y1="65371" x2="14955" y2="65371"/>
                            <a14:foregroundMark x1="8482" y1="65371" x2="8482" y2="65371"/>
                            <a14:foregroundMark x1="7589" y1="71025" x2="7589" y2="71025"/>
                            <a14:foregroundMark x1="7143" y1="81625" x2="7143" y2="81625"/>
                            <a14:foregroundMark x1="68973" y1="74205" x2="68973" y2="74205"/>
                            <a14:foregroundMark x1="59598" y1="72085" x2="59598" y2="72085"/>
                            <a14:backgroundMark x1="66741" y1="67491" x2="66741" y2="67491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74033" y="2359223"/>
                <a:ext cx="1184534" cy="74826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2" name="图片 21"/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4883" b="52930" l="4102" r="94336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45515"/>
              <a:stretch>
                <a:fillRect/>
              </a:stretch>
            </p:blipFill>
            <p:spPr>
              <a:xfrm>
                <a:off x="9767047" y="3675513"/>
                <a:ext cx="538823" cy="293578"/>
              </a:xfrm>
              <a:prstGeom prst="rect">
                <a:avLst/>
              </a:prstGeom>
            </p:spPr>
          </p:pic>
          <p:pic>
            <p:nvPicPr>
              <p:cNvPr id="23" name="图片 22"/>
              <p:cNvPicPr>
                <a:picLocks noChangeAspect="1"/>
              </p:cNvPicPr>
              <p:nvPr/>
            </p:nvPicPr>
            <p:blipFill rotWithShape="1">
              <a:blip r:embed="rId11" cstate="print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60547" b="75586" l="2344" r="97852">
                            <a14:foregroundMark x1="19141" y1="69727" x2="19141" y2="69727"/>
                            <a14:foregroundMark x1="32617" y1="71680" x2="32617" y2="71680"/>
                            <a14:foregroundMark x1="41406" y1="71680" x2="41406" y2="71680"/>
                            <a14:foregroundMark x1="51172" y1="73633" x2="51172" y2="73633"/>
                            <a14:foregroundMark x1="59180" y1="72461" x2="59180" y2="72461"/>
                            <a14:foregroundMark x1="70117" y1="71680" x2="70117" y2="71680"/>
                            <a14:foregroundMark x1="75977" y1="72461" x2="75977" y2="72461"/>
                            <a14:foregroundMark x1="81055" y1="74219" x2="81055" y2="74219"/>
                            <a14:foregroundMark x1="89844" y1="73047" x2="89844" y2="73047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58958" b="22261"/>
              <a:stretch>
                <a:fillRect/>
              </a:stretch>
            </p:blipFill>
            <p:spPr>
              <a:xfrm>
                <a:off x="9507293" y="3901039"/>
                <a:ext cx="1116500" cy="209692"/>
              </a:xfrm>
              <a:prstGeom prst="rect">
                <a:avLst/>
              </a:prstGeom>
            </p:spPr>
          </p:pic>
          <p:pic>
            <p:nvPicPr>
              <p:cNvPr id="24" name="图片 23"/>
              <p:cNvPicPr>
                <a:picLocks noChangeAspect="1"/>
              </p:cNvPicPr>
              <p:nvPr/>
            </p:nvPicPr>
            <p:blipFill>
              <a:blip r:embed="rId13">
                <a:extLst>
                  <a:ext uri="{BEBA8EAE-BF5A-486C-A8C5-ECC9F3942E4B}">
                    <a14:imgProps xmlns:a14="http://schemas.microsoft.com/office/drawing/2010/main">
                      <a14:imgLayer r:embed="rId14">
                        <a14:imgEffect>
                          <a14:backgroundRemoval t="2899" b="97464" l="6623" r="97351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8804779" y="3036591"/>
                <a:ext cx="962816" cy="879925"/>
              </a:xfrm>
              <a:prstGeom prst="rect">
                <a:avLst/>
              </a:prstGeom>
            </p:spPr>
          </p:pic>
        </p:grpSp>
        <p:pic>
          <p:nvPicPr>
            <p:cNvPr id="13" name="图片 12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858564" y="2458548"/>
              <a:ext cx="1149094" cy="1083465"/>
            </a:xfrm>
            <a:prstGeom prst="rect">
              <a:avLst/>
            </a:prstGeom>
          </p:spPr>
        </p:pic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365790" y="3061796"/>
              <a:ext cx="1484277" cy="453396"/>
            </a:xfrm>
            <a:prstGeom prst="rect">
              <a:avLst/>
            </a:prstGeom>
          </p:spPr>
        </p:pic>
        <p:pic>
          <p:nvPicPr>
            <p:cNvPr id="15" name="图片 14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7661748" y="1775690"/>
              <a:ext cx="933212" cy="832114"/>
            </a:xfrm>
            <a:prstGeom prst="rect">
              <a:avLst/>
            </a:prstGeom>
          </p:spPr>
        </p:pic>
        <p:pic>
          <p:nvPicPr>
            <p:cNvPr id="16" name="图片 15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2695506" y="2596799"/>
              <a:ext cx="1140337" cy="328102"/>
            </a:xfrm>
            <a:prstGeom prst="rect">
              <a:avLst/>
            </a:prstGeom>
          </p:spPr>
        </p:pic>
      </p:grpSp>
      <p:pic>
        <p:nvPicPr>
          <p:cNvPr id="45" name="图片 44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575830" y="2927424"/>
            <a:ext cx="1469263" cy="188992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任意多边形 7"/>
          <p:cNvSpPr/>
          <p:nvPr/>
        </p:nvSpPr>
        <p:spPr>
          <a:xfrm flipH="1">
            <a:off x="10295917" y="4061421"/>
            <a:ext cx="763971" cy="2060932"/>
          </a:xfrm>
          <a:custGeom>
            <a:avLst/>
            <a:gdLst>
              <a:gd name="connsiteX0" fmla="*/ 506416 w 770516"/>
              <a:gd name="connsiteY0" fmla="*/ 0 h 2078588"/>
              <a:gd name="connsiteX1" fmla="*/ 770516 w 770516"/>
              <a:gd name="connsiteY1" fmla="*/ 0 h 2078588"/>
              <a:gd name="connsiteX2" fmla="*/ 770516 w 770516"/>
              <a:gd name="connsiteY2" fmla="*/ 1212228 h 2078588"/>
              <a:gd name="connsiteX3" fmla="*/ 167952 w 770516"/>
              <a:gd name="connsiteY3" fmla="*/ 2066245 h 2078588"/>
              <a:gd name="connsiteX4" fmla="*/ 0 w 770516"/>
              <a:gd name="connsiteY4" fmla="*/ 2078588 h 2078588"/>
              <a:gd name="connsiteX5" fmla="*/ 0 w 770516"/>
              <a:gd name="connsiteY5" fmla="*/ 1844069 h 2078588"/>
              <a:gd name="connsiteX6" fmla="*/ 8584 w 770516"/>
              <a:gd name="connsiteY6" fmla="*/ 1844751 h 2078588"/>
              <a:gd name="connsiteX7" fmla="*/ 506416 w 770516"/>
              <a:gd name="connsiteY7" fmla="*/ 1250522 h 2078588"/>
              <a:gd name="connsiteX8" fmla="*/ 506416 w 770516"/>
              <a:gd name="connsiteY8" fmla="*/ 0 h 207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70516" h="2078588">
                <a:moveTo>
                  <a:pt x="506416" y="0"/>
                </a:moveTo>
                <a:lnTo>
                  <a:pt x="770516" y="0"/>
                </a:lnTo>
                <a:lnTo>
                  <a:pt x="770516" y="1212228"/>
                </a:lnTo>
                <a:cubicBezTo>
                  <a:pt x="770516" y="1718313"/>
                  <a:pt x="569661" y="2002985"/>
                  <a:pt x="167952" y="2066245"/>
                </a:cubicBezTo>
                <a:lnTo>
                  <a:pt x="0" y="2078588"/>
                </a:lnTo>
                <a:lnTo>
                  <a:pt x="0" y="1844069"/>
                </a:lnTo>
                <a:lnTo>
                  <a:pt x="8584" y="1844751"/>
                </a:lnTo>
                <a:cubicBezTo>
                  <a:pt x="340472" y="1844751"/>
                  <a:pt x="506416" y="1646675"/>
                  <a:pt x="506416" y="1250522"/>
                </a:cubicBezTo>
                <a:lnTo>
                  <a:pt x="506416" y="0"/>
                </a:lnTo>
                <a:close/>
              </a:path>
            </a:pathLst>
          </a:custGeom>
          <a:solidFill>
            <a:srgbClr val="0033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69315"/>
            <a:endParaRPr lang="zh-CN" altLang="en-US" sz="1710" kern="0">
              <a:solidFill>
                <a:sysClr val="window" lastClr="FFFFFF"/>
              </a:solidFill>
              <a:latin typeface="Arial" panose="020B0604020202020204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11" name="任意多边形 10"/>
          <p:cNvSpPr/>
          <p:nvPr/>
        </p:nvSpPr>
        <p:spPr>
          <a:xfrm flipV="1">
            <a:off x="11009881" y="482041"/>
            <a:ext cx="763971" cy="2060932"/>
          </a:xfrm>
          <a:custGeom>
            <a:avLst/>
            <a:gdLst>
              <a:gd name="connsiteX0" fmla="*/ 506416 w 770516"/>
              <a:gd name="connsiteY0" fmla="*/ 0 h 2078588"/>
              <a:gd name="connsiteX1" fmla="*/ 770516 w 770516"/>
              <a:gd name="connsiteY1" fmla="*/ 0 h 2078588"/>
              <a:gd name="connsiteX2" fmla="*/ 770516 w 770516"/>
              <a:gd name="connsiteY2" fmla="*/ 1212228 h 2078588"/>
              <a:gd name="connsiteX3" fmla="*/ 167952 w 770516"/>
              <a:gd name="connsiteY3" fmla="*/ 2066245 h 2078588"/>
              <a:gd name="connsiteX4" fmla="*/ 0 w 770516"/>
              <a:gd name="connsiteY4" fmla="*/ 2078588 h 2078588"/>
              <a:gd name="connsiteX5" fmla="*/ 0 w 770516"/>
              <a:gd name="connsiteY5" fmla="*/ 1844069 h 2078588"/>
              <a:gd name="connsiteX6" fmla="*/ 8584 w 770516"/>
              <a:gd name="connsiteY6" fmla="*/ 1844751 h 2078588"/>
              <a:gd name="connsiteX7" fmla="*/ 506416 w 770516"/>
              <a:gd name="connsiteY7" fmla="*/ 1250522 h 2078588"/>
              <a:gd name="connsiteX8" fmla="*/ 506416 w 770516"/>
              <a:gd name="connsiteY8" fmla="*/ 0 h 207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70516" h="2078588">
                <a:moveTo>
                  <a:pt x="506416" y="0"/>
                </a:moveTo>
                <a:lnTo>
                  <a:pt x="770516" y="0"/>
                </a:lnTo>
                <a:lnTo>
                  <a:pt x="770516" y="1212228"/>
                </a:lnTo>
                <a:cubicBezTo>
                  <a:pt x="770516" y="1718313"/>
                  <a:pt x="569661" y="2002985"/>
                  <a:pt x="167952" y="2066245"/>
                </a:cubicBezTo>
                <a:lnTo>
                  <a:pt x="0" y="2078588"/>
                </a:lnTo>
                <a:lnTo>
                  <a:pt x="0" y="1844069"/>
                </a:lnTo>
                <a:lnTo>
                  <a:pt x="8584" y="1844751"/>
                </a:lnTo>
                <a:cubicBezTo>
                  <a:pt x="340472" y="1844751"/>
                  <a:pt x="506416" y="1646675"/>
                  <a:pt x="506416" y="1250522"/>
                </a:cubicBezTo>
                <a:lnTo>
                  <a:pt x="506416" y="0"/>
                </a:lnTo>
                <a:close/>
              </a:path>
            </a:pathLst>
          </a:custGeom>
          <a:solidFill>
            <a:srgbClr val="0033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69315"/>
            <a:endParaRPr lang="zh-CN" altLang="en-US" sz="1710" kern="0">
              <a:solidFill>
                <a:sysClr val="window" lastClr="FFFFFF"/>
              </a:solidFill>
              <a:latin typeface="Arial" panose="020B0604020202020204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6088"/>
            <a:ext cx="12192000" cy="4325825"/>
          </a:xfrm>
          <a:prstGeom prst="rect">
            <a:avLst/>
          </a:prstGeom>
        </p:spPr>
      </p:pic>
      <p:grpSp>
        <p:nvGrpSpPr>
          <p:cNvPr id="13" name="组合 12"/>
          <p:cNvGrpSpPr/>
          <p:nvPr/>
        </p:nvGrpSpPr>
        <p:grpSpPr>
          <a:xfrm>
            <a:off x="11009880" y="888323"/>
            <a:ext cx="14392" cy="4848581"/>
            <a:chOff x="1974958" y="1151384"/>
            <a:chExt cx="14515" cy="4890118"/>
          </a:xfrm>
        </p:grpSpPr>
        <p:cxnSp>
          <p:nvCxnSpPr>
            <p:cNvPr id="14" name="直接连接符 13"/>
            <p:cNvCxnSpPr/>
            <p:nvPr/>
          </p:nvCxnSpPr>
          <p:spPr>
            <a:xfrm>
              <a:off x="1974958" y="1151384"/>
              <a:ext cx="0" cy="1653432"/>
            </a:xfrm>
            <a:prstGeom prst="line">
              <a:avLst/>
            </a:prstGeom>
            <a:ln w="3175">
              <a:solidFill>
                <a:srgbClr val="00336C"/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/>
          </p:nvCxnSpPr>
          <p:spPr>
            <a:xfrm flipV="1">
              <a:off x="1989473" y="4388070"/>
              <a:ext cx="0" cy="1653432"/>
            </a:xfrm>
            <a:prstGeom prst="line">
              <a:avLst/>
            </a:prstGeom>
            <a:ln w="3175">
              <a:solidFill>
                <a:schemeClr val="tx1">
                  <a:lumMod val="95000"/>
                  <a:lumOff val="5000"/>
                </a:schemeClr>
              </a:solidFill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任意多边形 15"/>
          <p:cNvSpPr/>
          <p:nvPr/>
        </p:nvSpPr>
        <p:spPr>
          <a:xfrm>
            <a:off x="11009881" y="4061421"/>
            <a:ext cx="763971" cy="2060932"/>
          </a:xfrm>
          <a:custGeom>
            <a:avLst/>
            <a:gdLst>
              <a:gd name="connsiteX0" fmla="*/ 506416 w 770516"/>
              <a:gd name="connsiteY0" fmla="*/ 0 h 2078588"/>
              <a:gd name="connsiteX1" fmla="*/ 770516 w 770516"/>
              <a:gd name="connsiteY1" fmla="*/ 0 h 2078588"/>
              <a:gd name="connsiteX2" fmla="*/ 770516 w 770516"/>
              <a:gd name="connsiteY2" fmla="*/ 1212228 h 2078588"/>
              <a:gd name="connsiteX3" fmla="*/ 167952 w 770516"/>
              <a:gd name="connsiteY3" fmla="*/ 2066245 h 2078588"/>
              <a:gd name="connsiteX4" fmla="*/ 0 w 770516"/>
              <a:gd name="connsiteY4" fmla="*/ 2078588 h 2078588"/>
              <a:gd name="connsiteX5" fmla="*/ 0 w 770516"/>
              <a:gd name="connsiteY5" fmla="*/ 1844069 h 2078588"/>
              <a:gd name="connsiteX6" fmla="*/ 8584 w 770516"/>
              <a:gd name="connsiteY6" fmla="*/ 1844751 h 2078588"/>
              <a:gd name="connsiteX7" fmla="*/ 506416 w 770516"/>
              <a:gd name="connsiteY7" fmla="*/ 1250522 h 2078588"/>
              <a:gd name="connsiteX8" fmla="*/ 506416 w 770516"/>
              <a:gd name="connsiteY8" fmla="*/ 0 h 207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70516" h="2078588">
                <a:moveTo>
                  <a:pt x="506416" y="0"/>
                </a:moveTo>
                <a:lnTo>
                  <a:pt x="770516" y="0"/>
                </a:lnTo>
                <a:lnTo>
                  <a:pt x="770516" y="1212228"/>
                </a:lnTo>
                <a:cubicBezTo>
                  <a:pt x="770516" y="1718313"/>
                  <a:pt x="569661" y="2002985"/>
                  <a:pt x="167952" y="2066245"/>
                </a:cubicBezTo>
                <a:lnTo>
                  <a:pt x="0" y="2078588"/>
                </a:lnTo>
                <a:lnTo>
                  <a:pt x="0" y="1844069"/>
                </a:lnTo>
                <a:lnTo>
                  <a:pt x="8584" y="1844751"/>
                </a:lnTo>
                <a:cubicBezTo>
                  <a:pt x="340472" y="1844751"/>
                  <a:pt x="506416" y="1646675"/>
                  <a:pt x="506416" y="1250522"/>
                </a:cubicBezTo>
                <a:lnTo>
                  <a:pt x="506416" y="0"/>
                </a:lnTo>
                <a:close/>
              </a:path>
            </a:pathLst>
          </a:custGeom>
          <a:solidFill>
            <a:srgbClr val="0033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69315"/>
            <a:endParaRPr lang="zh-CN" altLang="en-US" sz="1710" kern="0">
              <a:solidFill>
                <a:sysClr val="window" lastClr="FFFFFF"/>
              </a:solidFill>
              <a:latin typeface="Arial" panose="020B0604020202020204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0" name="任意多边形 19"/>
          <p:cNvSpPr/>
          <p:nvPr/>
        </p:nvSpPr>
        <p:spPr>
          <a:xfrm flipH="1" flipV="1">
            <a:off x="10295917" y="482041"/>
            <a:ext cx="763971" cy="2060932"/>
          </a:xfrm>
          <a:custGeom>
            <a:avLst/>
            <a:gdLst>
              <a:gd name="connsiteX0" fmla="*/ 506416 w 770516"/>
              <a:gd name="connsiteY0" fmla="*/ 0 h 2078588"/>
              <a:gd name="connsiteX1" fmla="*/ 770516 w 770516"/>
              <a:gd name="connsiteY1" fmla="*/ 0 h 2078588"/>
              <a:gd name="connsiteX2" fmla="*/ 770516 w 770516"/>
              <a:gd name="connsiteY2" fmla="*/ 1212228 h 2078588"/>
              <a:gd name="connsiteX3" fmla="*/ 167952 w 770516"/>
              <a:gd name="connsiteY3" fmla="*/ 2066245 h 2078588"/>
              <a:gd name="connsiteX4" fmla="*/ 0 w 770516"/>
              <a:gd name="connsiteY4" fmla="*/ 2078588 h 2078588"/>
              <a:gd name="connsiteX5" fmla="*/ 0 w 770516"/>
              <a:gd name="connsiteY5" fmla="*/ 1844069 h 2078588"/>
              <a:gd name="connsiteX6" fmla="*/ 8584 w 770516"/>
              <a:gd name="connsiteY6" fmla="*/ 1844751 h 2078588"/>
              <a:gd name="connsiteX7" fmla="*/ 506416 w 770516"/>
              <a:gd name="connsiteY7" fmla="*/ 1250522 h 2078588"/>
              <a:gd name="connsiteX8" fmla="*/ 506416 w 770516"/>
              <a:gd name="connsiteY8" fmla="*/ 0 h 2078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70516" h="2078588">
                <a:moveTo>
                  <a:pt x="506416" y="0"/>
                </a:moveTo>
                <a:lnTo>
                  <a:pt x="770516" y="0"/>
                </a:lnTo>
                <a:lnTo>
                  <a:pt x="770516" y="1212228"/>
                </a:lnTo>
                <a:cubicBezTo>
                  <a:pt x="770516" y="1718313"/>
                  <a:pt x="569661" y="2002985"/>
                  <a:pt x="167952" y="2066245"/>
                </a:cubicBezTo>
                <a:lnTo>
                  <a:pt x="0" y="2078588"/>
                </a:lnTo>
                <a:lnTo>
                  <a:pt x="0" y="1844069"/>
                </a:lnTo>
                <a:lnTo>
                  <a:pt x="8584" y="1844751"/>
                </a:lnTo>
                <a:cubicBezTo>
                  <a:pt x="340472" y="1844751"/>
                  <a:pt x="506416" y="1646675"/>
                  <a:pt x="506416" y="1250522"/>
                </a:cubicBezTo>
                <a:lnTo>
                  <a:pt x="506416" y="0"/>
                </a:lnTo>
                <a:close/>
              </a:path>
            </a:pathLst>
          </a:custGeom>
          <a:solidFill>
            <a:srgbClr val="00336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69315"/>
            <a:endParaRPr lang="zh-CN" altLang="en-US" sz="1710" kern="0">
              <a:solidFill>
                <a:sysClr val="window" lastClr="FFFFFF"/>
              </a:solidFill>
              <a:latin typeface="Arial" panose="020B0604020202020204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270380" y="3100256"/>
            <a:ext cx="6096000" cy="3620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zh-CN" altLang="en-US" sz="1600" b="1" spc="300" dirty="0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Helvetica" panose="020B0604020202020204" pitchFamily="34" charset="0"/>
              </a:rPr>
              <a:t>打造全球最具影响力的海洋食品企业！</a:t>
            </a:r>
            <a:endParaRPr lang="en-US" altLang="zh-CN" sz="1600" b="1" spc="300" dirty="0">
              <a:solidFill>
                <a:schemeClr val="bg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Helvetica" panose="020B0604020202020204" pitchFamily="34" charset="0"/>
            </a:endParaRPr>
          </a:p>
        </p:txBody>
      </p:sp>
      <p:sp>
        <p:nvSpPr>
          <p:cNvPr id="22" name="TextBox 16"/>
          <p:cNvSpPr txBox="1"/>
          <p:nvPr/>
        </p:nvSpPr>
        <p:spPr>
          <a:xfrm>
            <a:off x="276579" y="2555077"/>
            <a:ext cx="1159292" cy="3854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905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公司愿景</a:t>
            </a:r>
          </a:p>
        </p:txBody>
      </p:sp>
      <p:cxnSp>
        <p:nvCxnSpPr>
          <p:cNvPr id="7" name="直接连接符 6"/>
          <p:cNvCxnSpPr/>
          <p:nvPr/>
        </p:nvCxnSpPr>
        <p:spPr>
          <a:xfrm>
            <a:off x="418390" y="3004274"/>
            <a:ext cx="12565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矩形 1"/>
          <p:cNvSpPr/>
          <p:nvPr/>
        </p:nvSpPr>
        <p:spPr>
          <a:xfrm>
            <a:off x="270380" y="4412949"/>
            <a:ext cx="6096000" cy="361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zh-CN" altLang="en-US" sz="1600" b="1" spc="300" dirty="0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Helvetica" panose="020B0604020202020204" pitchFamily="34" charset="0"/>
              </a:rPr>
              <a:t>为人类提供健康海洋食品</a:t>
            </a:r>
            <a:r>
              <a:rPr lang="zh-CN" altLang="en-US" sz="1600" spc="300" dirty="0">
                <a:solidFill>
                  <a:schemeClr val="bg1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  <a:sym typeface="Helvetica" panose="020B0604020202020204" pitchFamily="34" charset="0"/>
              </a:rPr>
              <a:t>！</a:t>
            </a:r>
            <a:endParaRPr lang="en-US" altLang="zh-CN" sz="1600" spc="300" dirty="0">
              <a:solidFill>
                <a:schemeClr val="bg1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  <a:sym typeface="Helvetica" panose="020B0604020202020204" pitchFamily="34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70380" y="3950843"/>
            <a:ext cx="1159292" cy="3854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905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Helvetica" panose="020B0604020202020204" pitchFamily="34" charset="0"/>
              </a:rPr>
              <a:t>公司使命</a:t>
            </a:r>
            <a:endParaRPr lang="zh-CN" altLang="en-US" sz="1905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7" name="直接连接符 16"/>
          <p:cNvCxnSpPr/>
          <p:nvPr/>
        </p:nvCxnSpPr>
        <p:spPr>
          <a:xfrm>
            <a:off x="418390" y="4412949"/>
            <a:ext cx="125650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组合 5"/>
          <p:cNvGrpSpPr/>
          <p:nvPr/>
        </p:nvGrpSpPr>
        <p:grpSpPr>
          <a:xfrm>
            <a:off x="418148" y="1841392"/>
            <a:ext cx="2264071" cy="575201"/>
            <a:chOff x="451057" y="1737879"/>
            <a:chExt cx="2901698" cy="737194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0233"/>
            <a:stretch>
              <a:fillRect/>
            </a:stretch>
          </p:blipFill>
          <p:spPr>
            <a:xfrm>
              <a:off x="451057" y="1737879"/>
              <a:ext cx="896233" cy="737194"/>
            </a:xfrm>
            <a:prstGeom prst="rect">
              <a:avLst/>
            </a:prstGeom>
          </p:spPr>
        </p:pic>
        <p:pic>
          <p:nvPicPr>
            <p:cNvPr id="25" name="图片 2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6853"/>
            <a:stretch>
              <a:fillRect/>
            </a:stretch>
          </p:blipFill>
          <p:spPr>
            <a:xfrm>
              <a:off x="1347290" y="1819544"/>
              <a:ext cx="2005465" cy="478677"/>
            </a:xfrm>
            <a:prstGeom prst="rect">
              <a:avLst/>
            </a:prstGeom>
          </p:spPr>
        </p:pic>
      </p:grpSp>
    </p:spTree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 tmFilter="0,0; .5, 1; 1, 1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8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对象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673100" y="5826404"/>
            <a:ext cx="10845798" cy="310871"/>
          </a:xfrm>
        </p:spPr>
        <p:txBody>
          <a:bodyPr/>
          <a:lstStyle/>
          <a:p>
            <a:r>
              <a:rPr lang="en-US" altLang="zh-CN" spc="300" dirty="0"/>
              <a:t>www.guolian.cn</a:t>
            </a:r>
            <a:endParaRPr lang="en-US" altLang="en-US" spc="300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spc="300" dirty="0" err="1"/>
              <a:t>Guolian</a:t>
            </a:r>
            <a:r>
              <a:rPr lang="en-US" altLang="zh-CN" spc="300" dirty="0"/>
              <a:t> Aquatic</a:t>
            </a: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673101" y="3004457"/>
            <a:ext cx="10845798" cy="3132818"/>
          </a:xfrm>
        </p:spPr>
        <p:txBody>
          <a:bodyPr/>
          <a:lstStyle/>
          <a:p>
            <a:r>
              <a:rPr lang="en-US" altLang="zh-CN" sz="8200" b="0" dirty="0">
                <a:latin typeface="Impact" panose="020B0806030902050204" pitchFamily="34" charset="0"/>
              </a:rPr>
              <a:t>THANK</a:t>
            </a:r>
            <a:r>
              <a:rPr lang="en-US" altLang="zh-CN" sz="8200" b="0" dirty="0">
                <a:solidFill>
                  <a:srgbClr val="B2D2DE"/>
                </a:solidFill>
                <a:latin typeface="Impact" panose="020B0806030902050204" pitchFamily="34" charset="0"/>
              </a:rPr>
              <a:t>S</a:t>
            </a:r>
            <a:r>
              <a:rPr lang="en-US" altLang="zh-CN" dirty="0"/>
              <a:t/>
            </a:r>
            <a:br>
              <a:rPr lang="en-US" altLang="zh-CN" dirty="0"/>
            </a:br>
            <a:r>
              <a:rPr lang="en-US" altLang="zh-CN" sz="2600" b="0" dirty="0">
                <a:solidFill>
                  <a:schemeClr val="tx2"/>
                </a:solidFill>
              </a:rPr>
              <a:t>Share and win-win</a:t>
            </a:r>
            <a:endParaRPr lang="zh-CN" altLang="en-US" sz="2600" b="0" dirty="0">
              <a:solidFill>
                <a:schemeClr val="tx2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图片 3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00" b="45839"/>
          <a:stretch>
            <a:fillRect/>
          </a:stretch>
        </p:blipFill>
        <p:spPr>
          <a:xfrm>
            <a:off x="-10360" y="-27037"/>
            <a:ext cx="12202360" cy="3840080"/>
          </a:xfrm>
          <a:prstGeom prst="rect">
            <a:avLst/>
          </a:prstGeom>
        </p:spPr>
      </p:pic>
      <p:sp>
        <p:nvSpPr>
          <p:cNvPr id="3" name="文本框 38"/>
          <p:cNvSpPr txBox="1">
            <a:spLocks noChangeArrowheads="1"/>
          </p:cNvSpPr>
          <p:nvPr/>
        </p:nvSpPr>
        <p:spPr bwMode="auto">
          <a:xfrm>
            <a:off x="-289560" y="4578126"/>
            <a:ext cx="12202359" cy="861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zh-CN" altLang="en-US" sz="4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水产品总量及消费趋势</a:t>
            </a:r>
          </a:p>
        </p:txBody>
      </p:sp>
      <p:sp>
        <p:nvSpPr>
          <p:cNvPr id="7" name="任意多边形 6"/>
          <p:cNvSpPr/>
          <p:nvPr/>
        </p:nvSpPr>
        <p:spPr>
          <a:xfrm>
            <a:off x="4539717" y="-27037"/>
            <a:ext cx="3251704" cy="3677057"/>
          </a:xfrm>
          <a:custGeom>
            <a:avLst/>
            <a:gdLst>
              <a:gd name="connsiteX0" fmla="*/ 0 w 3252551"/>
              <a:gd name="connsiteY0" fmla="*/ 0 h 3677057"/>
              <a:gd name="connsiteX1" fmla="*/ 3252551 w 3252551"/>
              <a:gd name="connsiteY1" fmla="*/ 0 h 3677057"/>
              <a:gd name="connsiteX2" fmla="*/ 3252551 w 3252551"/>
              <a:gd name="connsiteY2" fmla="*/ 2142517 h 3677057"/>
              <a:gd name="connsiteX3" fmla="*/ 3244497 w 3252551"/>
              <a:gd name="connsiteY3" fmla="*/ 2142517 h 3677057"/>
              <a:gd name="connsiteX4" fmla="*/ 3240653 w 3252551"/>
              <a:gd name="connsiteY4" fmla="*/ 2218635 h 3677057"/>
              <a:gd name="connsiteX5" fmla="*/ 1624520 w 3252551"/>
              <a:gd name="connsiteY5" fmla="*/ 3677057 h 3677057"/>
              <a:gd name="connsiteX6" fmla="*/ 8387 w 3252551"/>
              <a:gd name="connsiteY6" fmla="*/ 2218635 h 3677057"/>
              <a:gd name="connsiteX7" fmla="*/ 4544 w 3252551"/>
              <a:gd name="connsiteY7" fmla="*/ 2142517 h 3677057"/>
              <a:gd name="connsiteX8" fmla="*/ 0 w 3252551"/>
              <a:gd name="connsiteY8" fmla="*/ 2142517 h 3677057"/>
              <a:gd name="connsiteX9" fmla="*/ 0 w 3252551"/>
              <a:gd name="connsiteY9" fmla="*/ 2052537 h 3677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52551" h="3677057">
                <a:moveTo>
                  <a:pt x="0" y="0"/>
                </a:moveTo>
                <a:lnTo>
                  <a:pt x="3252551" y="0"/>
                </a:lnTo>
                <a:lnTo>
                  <a:pt x="3252551" y="2142517"/>
                </a:lnTo>
                <a:lnTo>
                  <a:pt x="3244497" y="2142517"/>
                </a:lnTo>
                <a:lnTo>
                  <a:pt x="3240653" y="2218635"/>
                </a:lnTo>
                <a:cubicBezTo>
                  <a:pt x="3157461" y="3037809"/>
                  <a:pt x="2465643" y="3677057"/>
                  <a:pt x="1624520" y="3677057"/>
                </a:cubicBezTo>
                <a:cubicBezTo>
                  <a:pt x="783397" y="3677057"/>
                  <a:pt x="91579" y="3037809"/>
                  <a:pt x="8387" y="2218635"/>
                </a:cubicBezTo>
                <a:lnTo>
                  <a:pt x="4544" y="2142517"/>
                </a:lnTo>
                <a:lnTo>
                  <a:pt x="0" y="2142517"/>
                </a:lnTo>
                <a:lnTo>
                  <a:pt x="0" y="2052537"/>
                </a:lnTo>
                <a:close/>
              </a:path>
            </a:pathLst>
          </a:custGeom>
          <a:solidFill>
            <a:srgbClr val="0033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弧形 8"/>
          <p:cNvSpPr/>
          <p:nvPr/>
        </p:nvSpPr>
        <p:spPr>
          <a:xfrm rot="8155962">
            <a:off x="5026264" y="695716"/>
            <a:ext cx="2231667" cy="2232248"/>
          </a:xfrm>
          <a:prstGeom prst="arc">
            <a:avLst/>
          </a:prstGeom>
          <a:ln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/>
          </a:p>
        </p:txBody>
      </p:sp>
      <p:sp>
        <p:nvSpPr>
          <p:cNvPr id="10" name="椭圆 9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1" name="椭圆 10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2" name="椭圆 11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3" name="椭圆 12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4" name="椭圆 13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5" name="椭圆 14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6" name="椭圆 15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7" name="椭圆 16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8" name="椭圆 17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9" name="椭圆 18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21" name="等腰三角形 20"/>
          <p:cNvSpPr/>
          <p:nvPr/>
        </p:nvSpPr>
        <p:spPr>
          <a:xfrm flipV="1">
            <a:off x="5923280" y="3942080"/>
            <a:ext cx="388925" cy="335280"/>
          </a:xfrm>
          <a:prstGeom prst="triangle">
            <a:avLst/>
          </a:prstGeom>
          <a:solidFill>
            <a:srgbClr val="0033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grpSp>
        <p:nvGrpSpPr>
          <p:cNvPr id="28" name="组合 27"/>
          <p:cNvGrpSpPr/>
          <p:nvPr/>
        </p:nvGrpSpPr>
        <p:grpSpPr>
          <a:xfrm>
            <a:off x="5834445" y="1313521"/>
            <a:ext cx="675409" cy="1154619"/>
            <a:chOff x="6100714" y="2858778"/>
            <a:chExt cx="1048271" cy="1792030"/>
          </a:xfrm>
          <a:solidFill>
            <a:schemeClr val="bg1"/>
          </a:solidFill>
        </p:grpSpPr>
        <p:sp>
          <p:nvSpPr>
            <p:cNvPr id="29" name="任意多边形 45"/>
            <p:cNvSpPr/>
            <p:nvPr/>
          </p:nvSpPr>
          <p:spPr>
            <a:xfrm>
              <a:off x="6100714" y="2858778"/>
              <a:ext cx="606381" cy="1792030"/>
            </a:xfrm>
            <a:custGeom>
              <a:avLst/>
              <a:gdLst/>
              <a:ahLst/>
              <a:cxnLst/>
              <a:rect l="l" t="t" r="r" b="b"/>
              <a:pathLst>
                <a:path w="606381" h="1792030">
                  <a:moveTo>
                    <a:pt x="303190" y="0"/>
                  </a:moveTo>
                  <a:cubicBezTo>
                    <a:pt x="386999" y="0"/>
                    <a:pt x="458483" y="25266"/>
                    <a:pt x="517642" y="75797"/>
                  </a:cubicBezTo>
                  <a:cubicBezTo>
                    <a:pt x="576802" y="126329"/>
                    <a:pt x="606381" y="186926"/>
                    <a:pt x="606381" y="257589"/>
                  </a:cubicBezTo>
                  <a:lnTo>
                    <a:pt x="606381" y="1534441"/>
                  </a:lnTo>
                  <a:cubicBezTo>
                    <a:pt x="606381" y="1605103"/>
                    <a:pt x="576802" y="1665700"/>
                    <a:pt x="517642" y="1716232"/>
                  </a:cubicBezTo>
                  <a:cubicBezTo>
                    <a:pt x="458483" y="1766764"/>
                    <a:pt x="386999" y="1792030"/>
                    <a:pt x="303190" y="1792030"/>
                  </a:cubicBezTo>
                  <a:cubicBezTo>
                    <a:pt x="220203" y="1792030"/>
                    <a:pt x="148925" y="1766764"/>
                    <a:pt x="89355" y="1716232"/>
                  </a:cubicBezTo>
                  <a:cubicBezTo>
                    <a:pt x="29785" y="1665700"/>
                    <a:pt x="0" y="1605103"/>
                    <a:pt x="0" y="1534441"/>
                  </a:cubicBezTo>
                  <a:lnTo>
                    <a:pt x="0" y="257589"/>
                  </a:lnTo>
                  <a:cubicBezTo>
                    <a:pt x="0" y="186926"/>
                    <a:pt x="29785" y="126329"/>
                    <a:pt x="89355" y="75797"/>
                  </a:cubicBezTo>
                  <a:cubicBezTo>
                    <a:pt x="148925" y="25266"/>
                    <a:pt x="220203" y="0"/>
                    <a:pt x="303190" y="0"/>
                  </a:cubicBezTo>
                  <a:close/>
                  <a:moveTo>
                    <a:pt x="303190" y="45602"/>
                  </a:moveTo>
                  <a:cubicBezTo>
                    <a:pt x="275254" y="45602"/>
                    <a:pt x="251426" y="55462"/>
                    <a:pt x="231706" y="75181"/>
                  </a:cubicBezTo>
                  <a:cubicBezTo>
                    <a:pt x="211987" y="94901"/>
                    <a:pt x="202127" y="118729"/>
                    <a:pt x="202127" y="146665"/>
                  </a:cubicBezTo>
                  <a:lnTo>
                    <a:pt x="202127" y="1645365"/>
                  </a:lnTo>
                  <a:cubicBezTo>
                    <a:pt x="202127" y="1673301"/>
                    <a:pt x="211987" y="1697129"/>
                    <a:pt x="231706" y="1716848"/>
                  </a:cubicBezTo>
                  <a:cubicBezTo>
                    <a:pt x="251426" y="1736568"/>
                    <a:pt x="275254" y="1746428"/>
                    <a:pt x="303190" y="1746428"/>
                  </a:cubicBezTo>
                  <a:cubicBezTo>
                    <a:pt x="331127" y="1746428"/>
                    <a:pt x="354955" y="1736568"/>
                    <a:pt x="374674" y="1716848"/>
                  </a:cubicBezTo>
                  <a:cubicBezTo>
                    <a:pt x="394394" y="1697129"/>
                    <a:pt x="404254" y="1673301"/>
                    <a:pt x="404254" y="1645365"/>
                  </a:cubicBezTo>
                  <a:lnTo>
                    <a:pt x="404254" y="146665"/>
                  </a:lnTo>
                  <a:cubicBezTo>
                    <a:pt x="404254" y="118729"/>
                    <a:pt x="394394" y="94901"/>
                    <a:pt x="374674" y="75181"/>
                  </a:cubicBezTo>
                  <a:cubicBezTo>
                    <a:pt x="354955" y="55462"/>
                    <a:pt x="331127" y="45602"/>
                    <a:pt x="303190" y="45602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52145"/>
              <a:endParaRPr lang="zh-CN" altLang="en-US" sz="1285" kern="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30" name="任意多边形 46"/>
            <p:cNvSpPr/>
            <p:nvPr/>
          </p:nvSpPr>
          <p:spPr>
            <a:xfrm>
              <a:off x="6821144" y="2871103"/>
              <a:ext cx="327841" cy="1767380"/>
            </a:xfrm>
            <a:custGeom>
              <a:avLst/>
              <a:gdLst/>
              <a:ahLst/>
              <a:cxnLst/>
              <a:rect l="l" t="t" r="r" b="b"/>
              <a:pathLst>
                <a:path w="327841" h="1767380">
                  <a:moveTo>
                    <a:pt x="0" y="0"/>
                  </a:moveTo>
                  <a:lnTo>
                    <a:pt x="264984" y="0"/>
                  </a:lnTo>
                  <a:lnTo>
                    <a:pt x="264984" y="1721778"/>
                  </a:lnTo>
                  <a:lnTo>
                    <a:pt x="327841" y="1721778"/>
                  </a:lnTo>
                  <a:lnTo>
                    <a:pt x="327841" y="1767380"/>
                  </a:lnTo>
                  <a:lnTo>
                    <a:pt x="0" y="1767380"/>
                  </a:lnTo>
                  <a:lnTo>
                    <a:pt x="0" y="1721778"/>
                  </a:lnTo>
                  <a:lnTo>
                    <a:pt x="62857" y="1721778"/>
                  </a:lnTo>
                  <a:lnTo>
                    <a:pt x="62857" y="45601"/>
                  </a:lnTo>
                  <a:lnTo>
                    <a:pt x="0" y="4560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52145"/>
              <a:endParaRPr lang="zh-CN" altLang="en-US" sz="1285" kern="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6" name="图片 17" descr="图片 17"/>
          <p:cNvPicPr>
            <a:picLocks noChangeAspect="1"/>
          </p:cNvPicPr>
          <p:nvPr/>
        </p:nvPicPr>
        <p:blipFill>
          <a:blip r:embed="rId2"/>
          <a:srcRect t="15625"/>
          <a:stretch>
            <a:fillRect/>
          </a:stretch>
        </p:blipFill>
        <p:spPr>
          <a:xfrm>
            <a:off x="95249" y="55561"/>
            <a:ext cx="12001503" cy="6750845"/>
          </a:xfrm>
          <a:prstGeom prst="rect">
            <a:avLst/>
          </a:prstGeom>
          <a:ln w="3175">
            <a:miter lim="400000"/>
            <a:headEnd/>
            <a:tailEnd/>
          </a:ln>
        </p:spPr>
      </p:pic>
      <p:sp>
        <p:nvSpPr>
          <p:cNvPr id="937" name="矩形 1"/>
          <p:cNvSpPr/>
          <p:nvPr/>
        </p:nvSpPr>
        <p:spPr>
          <a:xfrm>
            <a:off x="95247" y="55561"/>
            <a:ext cx="12001504" cy="6750845"/>
          </a:xfrm>
          <a:prstGeom prst="rect">
            <a:avLst/>
          </a:prstGeom>
          <a:solidFill>
            <a:srgbClr val="002060">
              <a:alpha val="67000"/>
            </a:srgbClr>
          </a:solidFill>
          <a:ln w="3175">
            <a:miter lim="400000"/>
          </a:ln>
        </p:spPr>
        <p:txBody>
          <a:bodyPr lIns="57149" tIns="57149" rIns="57149" bIns="57149" anchor="ctr"/>
          <a:lstStyle/>
          <a:p>
            <a:pPr defTabSz="429895">
              <a:defRPr sz="1600" b="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endParaRPr sz="2160"/>
          </a:p>
        </p:txBody>
      </p:sp>
      <p:sp>
        <p:nvSpPr>
          <p:cNvPr id="938" name="矩形"/>
          <p:cNvSpPr/>
          <p:nvPr/>
        </p:nvSpPr>
        <p:spPr>
          <a:xfrm>
            <a:off x="148497" y="-32476"/>
            <a:ext cx="11994448" cy="6964099"/>
          </a:xfrm>
          <a:prstGeom prst="rect">
            <a:avLst/>
          </a:prstGeom>
          <a:solidFill>
            <a:srgbClr val="51C6E6"/>
          </a:solidFill>
          <a:ln w="3175">
            <a:miter lim="400000"/>
          </a:ln>
        </p:spPr>
        <p:txBody>
          <a:bodyPr lIns="44977" tIns="44977" rIns="44977" bIns="44977" anchor="ctr"/>
          <a:lstStyle/>
          <a:p>
            <a:pPr defTabSz="676910">
              <a:defRPr sz="1200" b="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endParaRPr sz="1620"/>
          </a:p>
        </p:txBody>
      </p:sp>
      <p:grpSp>
        <p:nvGrpSpPr>
          <p:cNvPr id="941" name="图片 4"/>
          <p:cNvGrpSpPr/>
          <p:nvPr/>
        </p:nvGrpSpPr>
        <p:grpSpPr>
          <a:xfrm>
            <a:off x="2156234" y="488572"/>
            <a:ext cx="3004017" cy="1879764"/>
            <a:chOff x="0" y="0"/>
            <a:chExt cx="2225197" cy="1392417"/>
          </a:xfrm>
        </p:grpSpPr>
        <p:pic>
          <p:nvPicPr>
            <p:cNvPr id="940" name="图片 4" descr="图片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100" y="12700"/>
              <a:ext cx="2148998" cy="1290818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939" name="图片 4" descr="图片 4"/>
            <p:cNvPicPr/>
            <p:nvPr/>
          </p:nvPicPr>
          <p:blipFill>
            <a:blip r:embed="rId4"/>
            <a:stretch>
              <a:fillRect/>
            </a:stretch>
          </p:blipFill>
          <p:spPr>
            <a:xfrm>
              <a:off x="0" y="0"/>
              <a:ext cx="2225198" cy="1392418"/>
            </a:xfrm>
            <a:prstGeom prst="rect">
              <a:avLst/>
            </a:prstGeom>
            <a:effectLst/>
          </p:spPr>
        </p:pic>
      </p:grpSp>
      <p:sp>
        <p:nvSpPr>
          <p:cNvPr id="942" name="矩形"/>
          <p:cNvSpPr/>
          <p:nvPr/>
        </p:nvSpPr>
        <p:spPr>
          <a:xfrm>
            <a:off x="5684949" y="-110492"/>
            <a:ext cx="11990340" cy="7078984"/>
          </a:xfrm>
          <a:prstGeom prst="rect">
            <a:avLst/>
          </a:prstGeom>
          <a:solidFill>
            <a:srgbClr val="185894"/>
          </a:solidFill>
          <a:ln w="3175">
            <a:miter lim="400000"/>
          </a:ln>
        </p:spPr>
        <p:txBody>
          <a:bodyPr lIns="44977" tIns="44977" rIns="44977" bIns="44977" anchor="ctr"/>
          <a:lstStyle/>
          <a:p>
            <a:pPr defTabSz="676910">
              <a:defRPr sz="1200" b="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endParaRPr sz="1620"/>
          </a:p>
        </p:txBody>
      </p:sp>
      <p:sp>
        <p:nvSpPr>
          <p:cNvPr id="943" name="TextBox 2"/>
          <p:cNvSpPr txBox="1"/>
          <p:nvPr/>
        </p:nvSpPr>
        <p:spPr>
          <a:xfrm>
            <a:off x="5769983" y="712062"/>
            <a:ext cx="6222097" cy="6038215"/>
          </a:xfrm>
          <a:prstGeom prst="rect">
            <a:avLst/>
          </a:prstGeom>
          <a:ln w="3175">
            <a:miter lim="400000"/>
          </a:ln>
        </p:spPr>
        <p:txBody>
          <a:bodyPr wrap="square" lIns="22501" tIns="22501" rIns="22501" bIns="22501">
            <a:spAutoFit/>
          </a:bodyPr>
          <a:lstStyle/>
          <a:p>
            <a:pPr algn="l" defTabSz="338455">
              <a:defRPr sz="9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endParaRPr sz="1215"/>
          </a:p>
          <a:p>
            <a:pPr algn="l" defTabSz="338455">
              <a:lnSpc>
                <a:spcPct val="150000"/>
              </a:lnSpc>
              <a:buSzPct val="100000"/>
              <a:buChar char="●"/>
              <a:defRPr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r>
              <a:rPr sz="2000"/>
              <a:t>中国是世界上</a:t>
            </a:r>
            <a:r>
              <a:rPr sz="2000" b="1"/>
              <a:t>最大的水产品</a:t>
            </a:r>
            <a:r>
              <a:rPr lang="zh-CN" sz="2000" b="1"/>
              <a:t>生产国</a:t>
            </a:r>
            <a:r>
              <a:rPr lang="zh-CN" sz="2000"/>
              <a:t>，</a:t>
            </a:r>
            <a:r>
              <a:rPr sz="2000">
                <a:sym typeface="+mn-ea"/>
              </a:rPr>
              <a:t>2017年水产品产量</a:t>
            </a:r>
            <a:r>
              <a:rPr lang="zh-CN" sz="2000">
                <a:sym typeface="+mn-ea"/>
              </a:rPr>
              <a:t>达到</a:t>
            </a:r>
            <a:r>
              <a:rPr sz="2000">
                <a:sym typeface="+mn-ea"/>
              </a:rPr>
              <a:t>7000万吨</a:t>
            </a:r>
            <a:r>
              <a:rPr lang="zh-CN" sz="2000">
                <a:sym typeface="+mn-ea"/>
              </a:rPr>
              <a:t>。</a:t>
            </a:r>
          </a:p>
          <a:p>
            <a:pPr indent="0" algn="l" defTabSz="338455">
              <a:lnSpc>
                <a:spcPct val="150000"/>
              </a:lnSpc>
              <a:buSzPct val="100000"/>
              <a:buNone/>
              <a:defRPr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endParaRPr lang="zh-CN" sz="2000">
              <a:sym typeface="+mn-ea"/>
            </a:endParaRPr>
          </a:p>
          <a:p>
            <a:pPr algn="l" defTabSz="338455">
              <a:lnSpc>
                <a:spcPct val="150000"/>
              </a:lnSpc>
              <a:buSzPct val="100000"/>
              <a:buChar char="●"/>
              <a:defRPr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r>
              <a:rPr sz="2000">
                <a:sym typeface="+mn-ea"/>
              </a:rPr>
              <a:t>中国</a:t>
            </a:r>
            <a:r>
              <a:rPr lang="zh-CN" sz="2000">
                <a:sym typeface="+mn-ea"/>
              </a:rPr>
              <a:t>是</a:t>
            </a:r>
            <a:r>
              <a:rPr sz="2000">
                <a:sym typeface="+mn-ea"/>
              </a:rPr>
              <a:t>世界</a:t>
            </a:r>
            <a:r>
              <a:rPr sz="2000" b="1">
                <a:sym typeface="+mn-ea"/>
              </a:rPr>
              <a:t>最大的水产品进口国；</a:t>
            </a:r>
            <a:r>
              <a:rPr sz="2000">
                <a:sym typeface="+mn-ea"/>
              </a:rPr>
              <a:t>水产品进出口总量超过1000万吨；</a:t>
            </a:r>
          </a:p>
          <a:p>
            <a:pPr indent="0" algn="l" defTabSz="338455">
              <a:lnSpc>
                <a:spcPct val="150000"/>
              </a:lnSpc>
              <a:buSzPct val="100000"/>
              <a:buNone/>
              <a:defRPr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endParaRPr lang="zh-CN" sz="2000">
              <a:sym typeface="+mn-ea"/>
            </a:endParaRPr>
          </a:p>
          <a:p>
            <a:pPr algn="l" defTabSz="338455">
              <a:lnSpc>
                <a:spcPct val="150000"/>
              </a:lnSpc>
              <a:buSzPct val="100000"/>
              <a:buChar char="●"/>
              <a:defRPr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r>
              <a:rPr lang="zh-CN" sz="2000"/>
              <a:t>中国是世界上</a:t>
            </a:r>
            <a:r>
              <a:rPr lang="zh-CN" sz="2000" b="1"/>
              <a:t>最大的水产品</a:t>
            </a:r>
            <a:r>
              <a:rPr sz="2000" b="1"/>
              <a:t>消费国</a:t>
            </a:r>
            <a:r>
              <a:rPr sz="2000" b="0"/>
              <a:t>，从2006-2023的消费预测来看，</a:t>
            </a:r>
            <a:r>
              <a:rPr lang="zh-CN" sz="2000" b="0"/>
              <a:t>随着消费升级，</a:t>
            </a:r>
            <a:r>
              <a:rPr sz="2000" b="0"/>
              <a:t>水产品消费需求逐年扩大；</a:t>
            </a:r>
          </a:p>
          <a:p>
            <a:pPr algn="l" defTabSz="338455">
              <a:lnSpc>
                <a:spcPct val="150000"/>
              </a:lnSpc>
              <a:buSzPct val="100000"/>
              <a:buChar char="●"/>
              <a:defRPr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endParaRPr sz="20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微软雅黑" panose="020B0503020204020204" pitchFamily="34" charset="-122"/>
            </a:endParaRPr>
          </a:p>
          <a:p>
            <a:pPr algn="l" defTabSz="338455">
              <a:lnSpc>
                <a:spcPct val="150000"/>
              </a:lnSpc>
              <a:buSzPct val="100000"/>
              <a:buChar char="●"/>
              <a:defRPr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endParaRPr sz="2000"/>
          </a:p>
          <a:p>
            <a:pPr indent="0" algn="l" defTabSz="338455">
              <a:lnSpc>
                <a:spcPct val="150000"/>
              </a:lnSpc>
              <a:buSzPct val="100000"/>
              <a:buNone/>
              <a:defRPr sz="1000" b="0">
                <a:solidFill>
                  <a:srgbClr val="FFFFFF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pPr>
            <a:endParaRPr sz="20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l" defTabSz="338455">
              <a:lnSpc>
                <a:spcPct val="150000"/>
              </a:lnSpc>
              <a:buSzPct val="100000"/>
              <a:buChar char="●"/>
              <a:defRPr sz="800" b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endParaRPr sz="1350"/>
          </a:p>
        </p:txBody>
      </p:sp>
      <p:grpSp>
        <p:nvGrpSpPr>
          <p:cNvPr id="946" name="图片 7"/>
          <p:cNvGrpSpPr/>
          <p:nvPr/>
        </p:nvGrpSpPr>
        <p:grpSpPr>
          <a:xfrm>
            <a:off x="2095480" y="2533788"/>
            <a:ext cx="3064771" cy="1934022"/>
            <a:chOff x="0" y="0"/>
            <a:chExt cx="2270200" cy="1432608"/>
          </a:xfrm>
        </p:grpSpPr>
        <p:pic>
          <p:nvPicPr>
            <p:cNvPr id="945" name="图片 7" descr="图片 7"/>
            <p:cNvPicPr/>
            <p:nvPr/>
          </p:nvPicPr>
          <p:blipFill>
            <a:blip r:embed="rId5"/>
            <a:stretch>
              <a:fillRect/>
            </a:stretch>
          </p:blipFill>
          <p:spPr>
            <a:xfrm>
              <a:off x="38100" y="12700"/>
              <a:ext cx="2194001" cy="1331009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944" name="图片 7" descr="图片 7"/>
            <p:cNvPicPr/>
            <p:nvPr/>
          </p:nvPicPr>
          <p:blipFill>
            <a:blip r:embed="rId6"/>
            <a:stretch>
              <a:fillRect/>
            </a:stretch>
          </p:blipFill>
          <p:spPr>
            <a:xfrm>
              <a:off x="0" y="0"/>
              <a:ext cx="2270201" cy="1432609"/>
            </a:xfrm>
            <a:prstGeom prst="rect">
              <a:avLst/>
            </a:prstGeom>
            <a:effectLst/>
          </p:spPr>
        </p:pic>
      </p:grpSp>
      <p:sp>
        <p:nvSpPr>
          <p:cNvPr id="950" name="正方形"/>
          <p:cNvSpPr/>
          <p:nvPr/>
        </p:nvSpPr>
        <p:spPr>
          <a:xfrm>
            <a:off x="501572" y="611067"/>
            <a:ext cx="1127821" cy="1132577"/>
          </a:xfrm>
          <a:prstGeom prst="rect">
            <a:avLst/>
          </a:prstGeom>
          <a:gradFill>
            <a:gsLst>
              <a:gs pos="0">
                <a:srgbClr val="84B4E0"/>
              </a:gs>
              <a:gs pos="100000">
                <a:srgbClr val="25CEEE"/>
              </a:gs>
            </a:gsLst>
            <a:lin ang="9816377"/>
          </a:gradFill>
          <a:ln w="3175">
            <a:solidFill>
              <a:srgbClr val="FFFFFF"/>
            </a:solidFill>
            <a:miter/>
          </a:ln>
          <a:effectLst>
            <a:outerShdw blurRad="330200" dist="76200" rotWithShape="0">
              <a:srgbClr val="000000">
                <a:alpha val="20000"/>
              </a:srgbClr>
            </a:outerShdw>
          </a:effectLst>
        </p:spPr>
        <p:txBody>
          <a:bodyPr lIns="57149" tIns="57149" rIns="57149" bIns="57149" anchor="ctr"/>
          <a:lstStyle/>
          <a:p>
            <a:pPr defTabSz="676275">
              <a:defRPr sz="1400" b="0">
                <a:solidFill>
                  <a:srgbClr val="FFFFFF"/>
                </a:solidFill>
                <a:latin typeface="Arial Unicode MS"/>
                <a:ea typeface="Arial Unicode MS"/>
                <a:cs typeface="Arial Unicode MS"/>
                <a:sym typeface="Arial Unicode MS"/>
              </a:defRPr>
            </a:pPr>
            <a:endParaRPr sz="1890"/>
          </a:p>
        </p:txBody>
      </p:sp>
      <p:sp>
        <p:nvSpPr>
          <p:cNvPr id="951" name="文本框 8"/>
          <p:cNvSpPr txBox="1"/>
          <p:nvPr/>
        </p:nvSpPr>
        <p:spPr>
          <a:xfrm>
            <a:off x="555886" y="948576"/>
            <a:ext cx="1019192" cy="384810"/>
          </a:xfrm>
          <a:prstGeom prst="rect">
            <a:avLst/>
          </a:prstGeom>
          <a:ln w="3175">
            <a:miter lim="400000"/>
          </a:ln>
        </p:spPr>
        <p:txBody>
          <a:bodyPr lIns="22501" tIns="22501" rIns="22501" bIns="22501">
            <a:spAutoFit/>
          </a:bodyPr>
          <a:lstStyle>
            <a:lvl1pPr defTabSz="338455">
              <a:defRPr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lvl1pPr>
          </a:lstStyle>
          <a:p>
            <a:r>
              <a:rPr sz="1080"/>
              <a:t>全球水产品消费预测（千吨）</a:t>
            </a:r>
          </a:p>
        </p:txBody>
      </p:sp>
      <p:sp>
        <p:nvSpPr>
          <p:cNvPr id="952" name="正方形"/>
          <p:cNvSpPr/>
          <p:nvPr/>
        </p:nvSpPr>
        <p:spPr>
          <a:xfrm>
            <a:off x="501572" y="2743408"/>
            <a:ext cx="1127821" cy="1132577"/>
          </a:xfrm>
          <a:prstGeom prst="rect">
            <a:avLst/>
          </a:prstGeom>
          <a:gradFill>
            <a:gsLst>
              <a:gs pos="0">
                <a:srgbClr val="84B4E0"/>
              </a:gs>
              <a:gs pos="100000">
                <a:srgbClr val="25CEEE"/>
              </a:gs>
            </a:gsLst>
            <a:lin ang="9816377"/>
          </a:gradFill>
          <a:ln w="3175">
            <a:solidFill>
              <a:srgbClr val="FFFFFF"/>
            </a:solidFill>
            <a:miter/>
          </a:ln>
          <a:effectLst>
            <a:outerShdw blurRad="330200" dist="76200" rotWithShape="0">
              <a:srgbClr val="000000">
                <a:alpha val="20000"/>
              </a:srgbClr>
            </a:outerShdw>
          </a:effectLst>
        </p:spPr>
        <p:txBody>
          <a:bodyPr lIns="57149" tIns="57149" rIns="57149" bIns="57149" anchor="ctr"/>
          <a:lstStyle/>
          <a:p>
            <a:pPr defTabSz="676275">
              <a:defRPr sz="1400" b="0">
                <a:solidFill>
                  <a:srgbClr val="FFFFFF"/>
                </a:solidFill>
                <a:latin typeface="Arial Unicode MS"/>
                <a:ea typeface="Arial Unicode MS"/>
                <a:cs typeface="Arial Unicode MS"/>
                <a:sym typeface="Arial Unicode MS"/>
              </a:defRPr>
            </a:pPr>
            <a:endParaRPr sz="1890"/>
          </a:p>
        </p:txBody>
      </p:sp>
      <p:sp>
        <p:nvSpPr>
          <p:cNvPr id="953" name="文本框 8"/>
          <p:cNvSpPr txBox="1"/>
          <p:nvPr/>
        </p:nvSpPr>
        <p:spPr>
          <a:xfrm>
            <a:off x="555699" y="3041834"/>
            <a:ext cx="1019191" cy="549275"/>
          </a:xfrm>
          <a:prstGeom prst="rect">
            <a:avLst/>
          </a:prstGeom>
          <a:ln w="3175">
            <a:miter lim="400000"/>
          </a:ln>
        </p:spPr>
        <p:txBody>
          <a:bodyPr lIns="22501" tIns="22501" rIns="22501" bIns="22501">
            <a:spAutoFit/>
          </a:bodyPr>
          <a:lstStyle>
            <a:lvl1pPr defTabSz="338455">
              <a:defRPr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lvl1pPr>
          </a:lstStyle>
          <a:p>
            <a:r>
              <a:rPr sz="1080"/>
              <a:t>中国水产品产量及增长趋势（万吨）</a:t>
            </a:r>
          </a:p>
        </p:txBody>
      </p:sp>
      <p:sp>
        <p:nvSpPr>
          <p:cNvPr id="954" name="正方形"/>
          <p:cNvSpPr/>
          <p:nvPr/>
        </p:nvSpPr>
        <p:spPr>
          <a:xfrm>
            <a:off x="501572" y="5003857"/>
            <a:ext cx="1127821" cy="1132578"/>
          </a:xfrm>
          <a:prstGeom prst="rect">
            <a:avLst/>
          </a:prstGeom>
          <a:gradFill>
            <a:gsLst>
              <a:gs pos="0">
                <a:srgbClr val="84B4E0"/>
              </a:gs>
              <a:gs pos="100000">
                <a:srgbClr val="25CEEE"/>
              </a:gs>
            </a:gsLst>
            <a:lin ang="9816377"/>
          </a:gradFill>
          <a:ln w="3175">
            <a:solidFill>
              <a:srgbClr val="FFFFFF"/>
            </a:solidFill>
            <a:miter/>
          </a:ln>
          <a:effectLst>
            <a:outerShdw blurRad="330200" dist="76200" rotWithShape="0">
              <a:srgbClr val="000000">
                <a:alpha val="20000"/>
              </a:srgbClr>
            </a:outerShdw>
          </a:effectLst>
        </p:spPr>
        <p:txBody>
          <a:bodyPr lIns="57149" tIns="57149" rIns="57149" bIns="57149" anchor="ctr"/>
          <a:lstStyle/>
          <a:p>
            <a:pPr defTabSz="676275">
              <a:defRPr sz="1400" b="0">
                <a:solidFill>
                  <a:srgbClr val="FFFFFF"/>
                </a:solidFill>
                <a:latin typeface="Arial Unicode MS"/>
                <a:ea typeface="Arial Unicode MS"/>
                <a:cs typeface="Arial Unicode MS"/>
                <a:sym typeface="Arial Unicode MS"/>
              </a:defRPr>
            </a:pPr>
            <a:endParaRPr sz="1890"/>
          </a:p>
        </p:txBody>
      </p:sp>
      <p:sp>
        <p:nvSpPr>
          <p:cNvPr id="955" name="文本框 8"/>
          <p:cNvSpPr txBox="1"/>
          <p:nvPr/>
        </p:nvSpPr>
        <p:spPr>
          <a:xfrm>
            <a:off x="555886" y="5125715"/>
            <a:ext cx="1019192" cy="549275"/>
          </a:xfrm>
          <a:prstGeom prst="rect">
            <a:avLst/>
          </a:prstGeom>
          <a:ln w="3175">
            <a:miter lim="400000"/>
          </a:ln>
        </p:spPr>
        <p:txBody>
          <a:bodyPr lIns="22501" tIns="22501" rIns="22501" bIns="22501">
            <a:spAutoFit/>
          </a:bodyPr>
          <a:lstStyle/>
          <a:p>
            <a:pPr defTabSz="338455">
              <a:defRPr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endParaRPr sz="1080"/>
          </a:p>
          <a:p>
            <a:pPr defTabSz="338455">
              <a:defRPr sz="8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微软雅黑" panose="020B0503020204020204" pitchFamily="34" charset="-122"/>
              </a:defRPr>
            </a:pPr>
            <a:r>
              <a:rPr sz="1080"/>
              <a:t>中国</a:t>
            </a:r>
            <a:r>
              <a:rPr lang="zh-CN" sz="1080"/>
              <a:t>水产品进出口贸易走势</a:t>
            </a:r>
          </a:p>
        </p:txBody>
      </p:sp>
      <p:pic>
        <p:nvPicPr>
          <p:cNvPr id="958" name="未标题-1.png" descr="未标题-1.png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48268" y="145240"/>
            <a:ext cx="1480093" cy="409872"/>
          </a:xfrm>
          <a:prstGeom prst="rect">
            <a:avLst/>
          </a:prstGeom>
          <a:ln w="3175">
            <a:miter lim="400000"/>
            <a:headEnd/>
            <a:tailEnd/>
          </a:ln>
        </p:spPr>
      </p:pic>
      <p:sp>
        <p:nvSpPr>
          <p:cNvPr id="4" name="object 4"/>
          <p:cNvSpPr/>
          <p:nvPr/>
        </p:nvSpPr>
        <p:spPr>
          <a:xfrm>
            <a:off x="2145665" y="4704080"/>
            <a:ext cx="2962910" cy="148844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5569" y="195728"/>
            <a:ext cx="11420198" cy="729893"/>
          </a:xfrm>
        </p:spPr>
        <p:txBody>
          <a:bodyPr/>
          <a:lstStyle/>
          <a:p>
            <a:r>
              <a:rPr lang="zh-CN" alt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水产品消费趋势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5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cxnSp>
        <p:nvCxnSpPr>
          <p:cNvPr id="36" name="直接连接符 35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组合 30"/>
          <p:cNvGrpSpPr/>
          <p:nvPr/>
        </p:nvGrpSpPr>
        <p:grpSpPr>
          <a:xfrm>
            <a:off x="919480" y="1659255"/>
            <a:ext cx="5066030" cy="4324350"/>
            <a:chOff x="992657" y="1611306"/>
            <a:chExt cx="3238029" cy="3073583"/>
          </a:xfrm>
        </p:grpSpPr>
        <p:sp>
          <p:nvSpPr>
            <p:cNvPr id="3" name="Rectangle 4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992657" y="1621909"/>
              <a:ext cx="3238029" cy="3062980"/>
            </a:xfrm>
            <a:prstGeom prst="rect">
              <a:avLst/>
            </a:prstGeom>
            <a:noFill/>
            <a:ln w="19050" algn="ctr">
              <a:solidFill>
                <a:srgbClr val="C7E0FB"/>
              </a:solidFill>
              <a:miter lim="800000"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200" b="1" kern="0">
                <a:solidFill>
                  <a:srgbClr val="00296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9" name="图片 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5816" y="2250628"/>
              <a:ext cx="2195696" cy="1772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992657" y="1611306"/>
              <a:ext cx="3238029" cy="304849"/>
            </a:xfrm>
            <a:prstGeom prst="rect">
              <a:avLst/>
            </a:prstGeom>
            <a:solidFill>
              <a:srgbClr val="C7D3EC"/>
            </a:solidFill>
            <a:ln w="19050" algn="ctr">
              <a:solidFill>
                <a:srgbClr val="C7E0FB"/>
              </a:solidFill>
              <a:miter lim="800000"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400" b="1" kern="0" dirty="0">
                  <a:solidFill>
                    <a:srgbClr val="00296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的中产阶级逐渐崛起</a:t>
              </a:r>
              <a:r>
                <a:rPr lang="en-US" altLang="zh-CN" sz="1400" b="1" kern="0" dirty="0">
                  <a:solidFill>
                    <a:srgbClr val="00296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</a:t>
              </a:r>
              <a:endParaRPr lang="zh-CN" altLang="en-US" sz="1400" b="1" kern="0" dirty="0">
                <a:solidFill>
                  <a:srgbClr val="00296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AutoShape 2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1465816" y="4155993"/>
              <a:ext cx="2195696" cy="327535"/>
            </a:xfrm>
            <a:prstGeom prst="roundRect">
              <a:avLst>
                <a:gd name="adj" fmla="val 8870"/>
              </a:avLst>
            </a:prstGeom>
            <a:solidFill>
              <a:srgbClr val="002960"/>
            </a:solidFill>
            <a:ln w="9525">
              <a:solidFill>
                <a:srgbClr val="000000"/>
              </a:solidFill>
              <a:round/>
            </a:ln>
            <a:effectLst/>
          </p:spPr>
          <p:txBody>
            <a:bodyPr wrap="square" lIns="72009" tIns="72009" rIns="72009" bIns="72009" anchor="ctr">
              <a:spAutoFit/>
            </a:bodyPr>
            <a:lstStyle/>
            <a:p>
              <a:pPr defTabSz="89535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defRPr/>
              </a:pPr>
              <a:r>
                <a:rPr lang="zh-CN" altLang="en-US" b="0" kern="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庞大的中产阶级阶层</a:t>
              </a:r>
            </a:p>
          </p:txBody>
        </p:sp>
        <p:sp>
          <p:nvSpPr>
            <p:cNvPr id="25" name="文本框 7"/>
            <p:cNvSpPr txBox="1">
              <a:spLocks noChangeArrowheads="1"/>
            </p:cNvSpPr>
            <p:nvPr/>
          </p:nvSpPr>
          <p:spPr bwMode="auto">
            <a:xfrm>
              <a:off x="1375976" y="1933386"/>
              <a:ext cx="2356344" cy="2040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45720" rIns="4572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kumimoji="1" lang="zh-CN" altLang="en-US" sz="12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麦肯锡中国收入结构预测（</a:t>
              </a:r>
              <a:r>
                <a:rPr kumimoji="1" lang="en-US" altLang="zh-CN" sz="12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2-2022)</a:t>
              </a: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6030595" y="1673860"/>
            <a:ext cx="4751070" cy="4559300"/>
            <a:chOff x="4751240" y="1611307"/>
            <a:chExt cx="2837032" cy="3073582"/>
          </a:xfrm>
        </p:grpSpPr>
        <p:sp>
          <p:nvSpPr>
            <p:cNvPr id="285" name="Provide comprehensive aquatic product solutions for enterprise customers"/>
            <p:cNvSpPr txBox="1"/>
            <p:nvPr/>
          </p:nvSpPr>
          <p:spPr>
            <a:xfrm>
              <a:off x="5934952" y="3066022"/>
              <a:ext cx="1352941" cy="250852"/>
            </a:xfrm>
            <a:prstGeom prst="rect">
              <a:avLst/>
            </a:prstGeom>
            <a:ln w="3175">
              <a:miter lim="400000"/>
            </a:ln>
          </p:spPr>
          <p:txBody>
            <a:bodyPr lIns="42333" tIns="42333" rIns="42333" bIns="42333">
              <a:spAutoFit/>
            </a:bodyPr>
            <a:lstStyle>
              <a:lvl1pPr defTabSz="859790">
                <a:lnSpc>
                  <a:spcPct val="90000"/>
                </a:lnSpc>
                <a:spcBef>
                  <a:spcPts val="900"/>
                </a:spcBef>
                <a:defRPr b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微软雅黑" panose="020B0503020204020204" pitchFamily="34" charset="-122"/>
                </a:defRPr>
              </a:lvl1pPr>
            </a:lstStyle>
            <a:p>
              <a:r>
                <a:rPr lang="en-US" altLang="zh-CN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endParaRPr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Rectangle 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751240" y="1621870"/>
              <a:ext cx="2837032" cy="3063019"/>
            </a:xfrm>
            <a:prstGeom prst="rect">
              <a:avLst/>
            </a:prstGeom>
            <a:noFill/>
            <a:ln w="19050" algn="ctr">
              <a:solidFill>
                <a:srgbClr val="C7E0FB"/>
              </a:solidFill>
              <a:miter lim="800000"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200" b="1" kern="0">
                <a:solidFill>
                  <a:srgbClr val="00296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Rectangle 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751240" y="1611307"/>
              <a:ext cx="2837032" cy="303691"/>
            </a:xfrm>
            <a:prstGeom prst="rect">
              <a:avLst/>
            </a:prstGeom>
            <a:solidFill>
              <a:srgbClr val="C7D3EC"/>
            </a:solidFill>
            <a:ln w="19050" algn="ctr">
              <a:solidFill>
                <a:srgbClr val="C7E0FB"/>
              </a:solidFill>
              <a:miter lim="800000"/>
            </a:ln>
            <a:effectLst/>
          </p:spPr>
          <p:txBody>
            <a:bodyPr wrap="none"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1400" b="1" kern="0" dirty="0">
                  <a:solidFill>
                    <a:srgbClr val="00296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…</a:t>
              </a:r>
              <a:r>
                <a:rPr lang="zh-CN" altLang="en-US" sz="1400" b="1" kern="0" dirty="0">
                  <a:solidFill>
                    <a:srgbClr val="00296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他们对水产的消费意愿非常强</a:t>
              </a:r>
            </a:p>
          </p:txBody>
        </p:sp>
        <p:pic>
          <p:nvPicPr>
            <p:cNvPr id="26" name="图片 21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3061" y="2014799"/>
              <a:ext cx="2413487" cy="1762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文本框 7"/>
            <p:cNvSpPr txBox="1">
              <a:spLocks noChangeArrowheads="1"/>
            </p:cNvSpPr>
            <p:nvPr/>
          </p:nvSpPr>
          <p:spPr bwMode="auto">
            <a:xfrm>
              <a:off x="5447747" y="2060243"/>
              <a:ext cx="1520668" cy="193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45720" rIns="45720"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  <a:ea typeface="华文楷体" panose="02010600040101010101" pitchFamily="2" charset="-122"/>
                </a:defRPr>
              </a:lvl9pPr>
            </a:lstStyle>
            <a:p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kumimoji="1" lang="zh-CN" altLang="en-US" sz="1200" b="1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收入阶层与水产消费关系</a:t>
              </a:r>
            </a:p>
          </p:txBody>
        </p:sp>
        <p:sp>
          <p:nvSpPr>
            <p:cNvPr id="28" name="AutoShape 28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4972911" y="3889664"/>
              <a:ext cx="2413400" cy="507093"/>
            </a:xfrm>
            <a:prstGeom prst="roundRect">
              <a:avLst>
                <a:gd name="adj" fmla="val 8870"/>
              </a:avLst>
            </a:prstGeom>
            <a:solidFill>
              <a:srgbClr val="002960"/>
            </a:solidFill>
            <a:ln w="9525">
              <a:solidFill>
                <a:srgbClr val="000000"/>
              </a:solidFill>
              <a:round/>
            </a:ln>
            <a:effectLst/>
          </p:spPr>
          <p:txBody>
            <a:bodyPr wrap="square" lIns="72009" tIns="72009" rIns="72009" bIns="72009" anchor="ctr">
              <a:spAutoFit/>
            </a:bodyPr>
            <a:lstStyle/>
            <a:p>
              <a:pPr defTabSz="895350" eaLnBrk="1" fontAlgn="auto" hangingPunct="1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defRPr/>
              </a:pPr>
              <a:r>
                <a:rPr lang="zh-CN" altLang="en-US" b="0" kern="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国高收入阶层禽类蛋白消耗减少，水产品消耗上升</a:t>
              </a:r>
            </a:p>
          </p:txBody>
        </p:sp>
      </p:grpSp>
      <p:sp>
        <p:nvSpPr>
          <p:cNvPr id="7" name="文本框 6"/>
          <p:cNvSpPr txBox="1"/>
          <p:nvPr/>
        </p:nvSpPr>
        <p:spPr>
          <a:xfrm>
            <a:off x="877570" y="1151255"/>
            <a:ext cx="9837420" cy="38481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hangingPunct="1"/>
            <a:r>
              <a:rPr lang="zh-CN" altLang="en-US" spc="1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" panose="02000503000000020004"/>
              </a:rPr>
              <a:t>中产阶级的崛起将推进食品消费需求结构持续改变，水产作为优质蛋白的消费占比将持续提升。</a:t>
            </a:r>
            <a:endParaRPr lang="zh-CN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5569" y="195728"/>
            <a:ext cx="11420198" cy="729893"/>
          </a:xfrm>
        </p:spPr>
        <p:txBody>
          <a:bodyPr/>
          <a:lstStyle/>
          <a:p>
            <a:r>
              <a:rPr lang="zh-CN" alt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水产品消费总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6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cxnSp>
        <p:nvCxnSpPr>
          <p:cNvPr id="36" name="直接连接符 35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280" y="1985010"/>
            <a:ext cx="10885805" cy="440753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970280" y="1073150"/>
            <a:ext cx="10549890" cy="65913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 hangingPunct="1"/>
            <a:r>
              <a:rPr lang="zh-CN" altLang="en-US" spc="1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" panose="02000503000000020004"/>
              </a:rPr>
              <a:t>更强的支付能力、更快的生活节奏和更长的工作时间，</a:t>
            </a:r>
            <a:endParaRPr lang="zh-CN" altLang="en-US" spc="10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Helvetica Neue" panose="02000503000000020004"/>
            </a:endParaRPr>
          </a:p>
          <a:p>
            <a:pPr algn="l" hangingPunct="1"/>
            <a:r>
              <a:rPr lang="zh-CN" altLang="en-US" spc="1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" panose="02000503000000020004"/>
              </a:rPr>
              <a:t>导致外出就餐比例上升，“便捷性”成为未来水产消费的重要诉求</a:t>
            </a:r>
            <a:r>
              <a:rPr lang="en-US" altLang="zh-CN" spc="10" dirty="0">
                <a:latin typeface="微软雅黑" panose="020B0503020204020204" pitchFamily="34" charset="-122"/>
                <a:ea typeface="微软雅黑" panose="020B0503020204020204" pitchFamily="34" charset="-122"/>
                <a:sym typeface="Helvetica Neue" panose="02000503000000020004"/>
              </a:rPr>
              <a:t>…</a:t>
            </a:r>
            <a:endParaRPr lang="zh-CN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5569" y="195728"/>
            <a:ext cx="11420198" cy="729893"/>
          </a:xfrm>
        </p:spPr>
        <p:txBody>
          <a:bodyPr/>
          <a:lstStyle/>
          <a:p>
            <a:r>
              <a:rPr lang="zh-CN" altLang="en-US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水产品消费总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7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7075" y="350390"/>
            <a:ext cx="633412" cy="653166"/>
          </a:xfrm>
          <a:prstGeom prst="rect">
            <a:avLst/>
          </a:prstGeom>
        </p:spPr>
      </p:pic>
      <p:cxnSp>
        <p:nvCxnSpPr>
          <p:cNvPr id="36" name="直接连接符 35"/>
          <p:cNvCxnSpPr/>
          <p:nvPr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图片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61060" y="1621790"/>
            <a:ext cx="10810240" cy="4695825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821690" y="1163955"/>
            <a:ext cx="9098280" cy="38481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pPr algn="l" hangingPunct="1"/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消费需求的升级，推动产业商业模式变化：面向餐饮企业的供应链模式得到进一步发展。</a:t>
            </a:r>
            <a:endParaRPr lang="zh-CN" altLang="en-US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图片 3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00" b="45839"/>
          <a:stretch>
            <a:fillRect/>
          </a:stretch>
        </p:blipFill>
        <p:spPr>
          <a:xfrm>
            <a:off x="-10360" y="-27037"/>
            <a:ext cx="12202360" cy="3840080"/>
          </a:xfrm>
          <a:prstGeom prst="rect">
            <a:avLst/>
          </a:prstGeom>
        </p:spPr>
      </p:pic>
      <p:sp>
        <p:nvSpPr>
          <p:cNvPr id="3" name="文本框 38"/>
          <p:cNvSpPr txBox="1">
            <a:spLocks noChangeArrowheads="1"/>
          </p:cNvSpPr>
          <p:nvPr/>
        </p:nvSpPr>
        <p:spPr bwMode="auto">
          <a:xfrm>
            <a:off x="-289560" y="4578126"/>
            <a:ext cx="12202359" cy="605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zh-CN" alt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采购环节</a:t>
            </a:r>
            <a:r>
              <a:rPr lang="en-US" altLang="zh-CN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-</a:t>
            </a:r>
            <a:r>
              <a:rPr lang="zh-CN" alt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生产环节</a:t>
            </a:r>
            <a:r>
              <a:rPr lang="en-US" altLang="zh-CN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-</a:t>
            </a:r>
            <a:r>
              <a:rPr lang="zh-CN" alt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质量控制</a:t>
            </a:r>
            <a:r>
              <a:rPr lang="en-US" altLang="zh-CN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-</a:t>
            </a:r>
            <a:r>
              <a:rPr lang="zh-CN" alt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产品研发</a:t>
            </a:r>
            <a:r>
              <a:rPr lang="en-US" altLang="zh-CN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-</a:t>
            </a:r>
            <a:r>
              <a:rPr lang="zh-CN" altLang="en-US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销售服务</a:t>
            </a:r>
          </a:p>
        </p:txBody>
      </p:sp>
      <p:sp>
        <p:nvSpPr>
          <p:cNvPr id="7" name="任意多边形 6"/>
          <p:cNvSpPr/>
          <p:nvPr/>
        </p:nvSpPr>
        <p:spPr>
          <a:xfrm>
            <a:off x="4539717" y="-27037"/>
            <a:ext cx="3251704" cy="3677057"/>
          </a:xfrm>
          <a:custGeom>
            <a:avLst/>
            <a:gdLst>
              <a:gd name="connsiteX0" fmla="*/ 0 w 3252551"/>
              <a:gd name="connsiteY0" fmla="*/ 0 h 3677057"/>
              <a:gd name="connsiteX1" fmla="*/ 3252551 w 3252551"/>
              <a:gd name="connsiteY1" fmla="*/ 0 h 3677057"/>
              <a:gd name="connsiteX2" fmla="*/ 3252551 w 3252551"/>
              <a:gd name="connsiteY2" fmla="*/ 2142517 h 3677057"/>
              <a:gd name="connsiteX3" fmla="*/ 3244497 w 3252551"/>
              <a:gd name="connsiteY3" fmla="*/ 2142517 h 3677057"/>
              <a:gd name="connsiteX4" fmla="*/ 3240653 w 3252551"/>
              <a:gd name="connsiteY4" fmla="*/ 2218635 h 3677057"/>
              <a:gd name="connsiteX5" fmla="*/ 1624520 w 3252551"/>
              <a:gd name="connsiteY5" fmla="*/ 3677057 h 3677057"/>
              <a:gd name="connsiteX6" fmla="*/ 8387 w 3252551"/>
              <a:gd name="connsiteY6" fmla="*/ 2218635 h 3677057"/>
              <a:gd name="connsiteX7" fmla="*/ 4544 w 3252551"/>
              <a:gd name="connsiteY7" fmla="*/ 2142517 h 3677057"/>
              <a:gd name="connsiteX8" fmla="*/ 0 w 3252551"/>
              <a:gd name="connsiteY8" fmla="*/ 2142517 h 3677057"/>
              <a:gd name="connsiteX9" fmla="*/ 0 w 3252551"/>
              <a:gd name="connsiteY9" fmla="*/ 2052537 h 3677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52551" h="3677057">
                <a:moveTo>
                  <a:pt x="0" y="0"/>
                </a:moveTo>
                <a:lnTo>
                  <a:pt x="3252551" y="0"/>
                </a:lnTo>
                <a:lnTo>
                  <a:pt x="3252551" y="2142517"/>
                </a:lnTo>
                <a:lnTo>
                  <a:pt x="3244497" y="2142517"/>
                </a:lnTo>
                <a:lnTo>
                  <a:pt x="3240653" y="2218635"/>
                </a:lnTo>
                <a:cubicBezTo>
                  <a:pt x="3157461" y="3037809"/>
                  <a:pt x="2465643" y="3677057"/>
                  <a:pt x="1624520" y="3677057"/>
                </a:cubicBezTo>
                <a:cubicBezTo>
                  <a:pt x="783397" y="3677057"/>
                  <a:pt x="91579" y="3037809"/>
                  <a:pt x="8387" y="2218635"/>
                </a:cubicBezTo>
                <a:lnTo>
                  <a:pt x="4544" y="2142517"/>
                </a:lnTo>
                <a:lnTo>
                  <a:pt x="0" y="2142517"/>
                </a:lnTo>
                <a:lnTo>
                  <a:pt x="0" y="2052537"/>
                </a:lnTo>
                <a:close/>
              </a:path>
            </a:pathLst>
          </a:custGeom>
          <a:solidFill>
            <a:srgbClr val="0033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弧形 8"/>
          <p:cNvSpPr/>
          <p:nvPr/>
        </p:nvSpPr>
        <p:spPr>
          <a:xfrm rot="8155962">
            <a:off x="5026264" y="695716"/>
            <a:ext cx="2231667" cy="2232248"/>
          </a:xfrm>
          <a:prstGeom prst="arc">
            <a:avLst/>
          </a:prstGeom>
          <a:ln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/>
          </a:p>
        </p:txBody>
      </p:sp>
      <p:sp>
        <p:nvSpPr>
          <p:cNvPr id="10" name="椭圆 9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1" name="椭圆 10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2" name="椭圆 11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3" name="椭圆 12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4" name="椭圆 13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5" name="椭圆 14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6" name="椭圆 15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7" name="椭圆 16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8" name="椭圆 17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19" name="椭圆 18"/>
          <p:cNvSpPr>
            <a:spLocks noChangeAspect="1"/>
          </p:cNvSpPr>
          <p:nvPr/>
        </p:nvSpPr>
        <p:spPr>
          <a:xfrm>
            <a:off x="6136160" y="737667"/>
            <a:ext cx="71981" cy="72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zh-CN" altLang="en-US" sz="2400">
              <a:solidFill>
                <a:srgbClr val="65D7FF"/>
              </a:solidFill>
            </a:endParaRPr>
          </a:p>
        </p:txBody>
      </p:sp>
      <p:sp>
        <p:nvSpPr>
          <p:cNvPr id="21" name="等腰三角形 20"/>
          <p:cNvSpPr/>
          <p:nvPr/>
        </p:nvSpPr>
        <p:spPr>
          <a:xfrm flipV="1">
            <a:off x="5923280" y="3942080"/>
            <a:ext cx="388925" cy="335280"/>
          </a:xfrm>
          <a:prstGeom prst="triangle">
            <a:avLst/>
          </a:prstGeom>
          <a:solidFill>
            <a:srgbClr val="0033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grpSp>
        <p:nvGrpSpPr>
          <p:cNvPr id="25" name="组合 24"/>
          <p:cNvGrpSpPr/>
          <p:nvPr/>
        </p:nvGrpSpPr>
        <p:grpSpPr>
          <a:xfrm>
            <a:off x="5770267" y="1359701"/>
            <a:ext cx="803765" cy="1154820"/>
            <a:chOff x="5784106" y="4771340"/>
            <a:chExt cx="1247268" cy="1792030"/>
          </a:xfrm>
          <a:solidFill>
            <a:schemeClr val="bg1"/>
          </a:solidFill>
        </p:grpSpPr>
        <p:sp>
          <p:nvSpPr>
            <p:cNvPr id="26" name="任意多边形 18"/>
            <p:cNvSpPr/>
            <p:nvPr/>
          </p:nvSpPr>
          <p:spPr>
            <a:xfrm>
              <a:off x="5784106" y="4771340"/>
              <a:ext cx="606381" cy="1792030"/>
            </a:xfrm>
            <a:custGeom>
              <a:avLst/>
              <a:gdLst/>
              <a:ahLst/>
              <a:cxnLst/>
              <a:rect l="l" t="t" r="r" b="b"/>
              <a:pathLst>
                <a:path w="606381" h="1792030">
                  <a:moveTo>
                    <a:pt x="303190" y="0"/>
                  </a:moveTo>
                  <a:cubicBezTo>
                    <a:pt x="386999" y="0"/>
                    <a:pt x="458483" y="25266"/>
                    <a:pt x="517642" y="75797"/>
                  </a:cubicBezTo>
                  <a:cubicBezTo>
                    <a:pt x="576802" y="126329"/>
                    <a:pt x="606381" y="186926"/>
                    <a:pt x="606381" y="257589"/>
                  </a:cubicBezTo>
                  <a:lnTo>
                    <a:pt x="606381" y="1534441"/>
                  </a:lnTo>
                  <a:cubicBezTo>
                    <a:pt x="606381" y="1605103"/>
                    <a:pt x="576802" y="1665700"/>
                    <a:pt x="517642" y="1716232"/>
                  </a:cubicBezTo>
                  <a:cubicBezTo>
                    <a:pt x="458483" y="1766764"/>
                    <a:pt x="386999" y="1792030"/>
                    <a:pt x="303190" y="1792030"/>
                  </a:cubicBezTo>
                  <a:cubicBezTo>
                    <a:pt x="220203" y="1792030"/>
                    <a:pt x="148925" y="1766764"/>
                    <a:pt x="89355" y="1716232"/>
                  </a:cubicBezTo>
                  <a:cubicBezTo>
                    <a:pt x="29785" y="1665700"/>
                    <a:pt x="0" y="1605103"/>
                    <a:pt x="0" y="1534441"/>
                  </a:cubicBezTo>
                  <a:lnTo>
                    <a:pt x="0" y="257589"/>
                  </a:lnTo>
                  <a:cubicBezTo>
                    <a:pt x="0" y="186926"/>
                    <a:pt x="29785" y="126329"/>
                    <a:pt x="89355" y="75797"/>
                  </a:cubicBezTo>
                  <a:cubicBezTo>
                    <a:pt x="148925" y="25266"/>
                    <a:pt x="220203" y="0"/>
                    <a:pt x="303190" y="0"/>
                  </a:cubicBezTo>
                  <a:close/>
                  <a:moveTo>
                    <a:pt x="303190" y="45602"/>
                  </a:moveTo>
                  <a:cubicBezTo>
                    <a:pt x="275254" y="45602"/>
                    <a:pt x="251426" y="55462"/>
                    <a:pt x="231706" y="75181"/>
                  </a:cubicBezTo>
                  <a:cubicBezTo>
                    <a:pt x="211987" y="94901"/>
                    <a:pt x="202127" y="118729"/>
                    <a:pt x="202127" y="146665"/>
                  </a:cubicBezTo>
                  <a:lnTo>
                    <a:pt x="202127" y="1645365"/>
                  </a:lnTo>
                  <a:cubicBezTo>
                    <a:pt x="202127" y="1673301"/>
                    <a:pt x="211987" y="1697129"/>
                    <a:pt x="231706" y="1716848"/>
                  </a:cubicBezTo>
                  <a:cubicBezTo>
                    <a:pt x="251426" y="1736568"/>
                    <a:pt x="275254" y="1746428"/>
                    <a:pt x="303190" y="1746428"/>
                  </a:cubicBezTo>
                  <a:cubicBezTo>
                    <a:pt x="331127" y="1746428"/>
                    <a:pt x="354955" y="1736568"/>
                    <a:pt x="374674" y="1716848"/>
                  </a:cubicBezTo>
                  <a:cubicBezTo>
                    <a:pt x="394394" y="1697129"/>
                    <a:pt x="404254" y="1673301"/>
                    <a:pt x="404254" y="1645365"/>
                  </a:cubicBezTo>
                  <a:lnTo>
                    <a:pt x="404254" y="146665"/>
                  </a:lnTo>
                  <a:cubicBezTo>
                    <a:pt x="404254" y="118729"/>
                    <a:pt x="394394" y="94901"/>
                    <a:pt x="374674" y="75181"/>
                  </a:cubicBezTo>
                  <a:cubicBezTo>
                    <a:pt x="354955" y="55462"/>
                    <a:pt x="331127" y="45602"/>
                    <a:pt x="303190" y="45602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52145"/>
              <a:endParaRPr lang="zh-CN" altLang="en-US" sz="1285" kern="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  <p:sp>
          <p:nvSpPr>
            <p:cNvPr id="27" name="任意多边形 19"/>
            <p:cNvSpPr/>
            <p:nvPr/>
          </p:nvSpPr>
          <p:spPr>
            <a:xfrm>
              <a:off x="6450875" y="4771341"/>
              <a:ext cx="580499" cy="1779705"/>
            </a:xfrm>
            <a:custGeom>
              <a:avLst/>
              <a:gdLst/>
              <a:ahLst/>
              <a:cxnLst/>
              <a:rect l="l" t="t" r="r" b="b"/>
              <a:pathLst>
                <a:path w="580499" h="1779705">
                  <a:moveTo>
                    <a:pt x="290866" y="0"/>
                  </a:moveTo>
                  <a:cubicBezTo>
                    <a:pt x="373031" y="0"/>
                    <a:pt x="441845" y="25060"/>
                    <a:pt x="497307" y="75181"/>
                  </a:cubicBezTo>
                  <a:cubicBezTo>
                    <a:pt x="552768" y="125302"/>
                    <a:pt x="580499" y="186105"/>
                    <a:pt x="580499" y="257589"/>
                  </a:cubicBezTo>
                  <a:lnTo>
                    <a:pt x="580499" y="510248"/>
                  </a:lnTo>
                  <a:cubicBezTo>
                    <a:pt x="580499" y="593235"/>
                    <a:pt x="558725" y="668827"/>
                    <a:pt x="515178" y="737025"/>
                  </a:cubicBezTo>
                  <a:lnTo>
                    <a:pt x="262518" y="1131419"/>
                  </a:lnTo>
                  <a:cubicBezTo>
                    <a:pt x="222257" y="1193865"/>
                    <a:pt x="202127" y="1266992"/>
                    <a:pt x="202127" y="1350801"/>
                  </a:cubicBezTo>
                  <a:lnTo>
                    <a:pt x="202127" y="1734103"/>
                  </a:lnTo>
                  <a:lnTo>
                    <a:pt x="379604" y="1734103"/>
                  </a:lnTo>
                  <a:lnTo>
                    <a:pt x="379604" y="1249738"/>
                  </a:lnTo>
                  <a:lnTo>
                    <a:pt x="580499" y="1249738"/>
                  </a:lnTo>
                  <a:lnTo>
                    <a:pt x="580499" y="1779705"/>
                  </a:lnTo>
                  <a:lnTo>
                    <a:pt x="0" y="1779705"/>
                  </a:lnTo>
                  <a:lnTo>
                    <a:pt x="0" y="1295339"/>
                  </a:lnTo>
                  <a:cubicBezTo>
                    <a:pt x="0" y="1212352"/>
                    <a:pt x="22184" y="1136349"/>
                    <a:pt x="66554" y="1067330"/>
                  </a:cubicBezTo>
                  <a:lnTo>
                    <a:pt x="317980" y="674168"/>
                  </a:lnTo>
                  <a:cubicBezTo>
                    <a:pt x="359063" y="610900"/>
                    <a:pt x="379604" y="537773"/>
                    <a:pt x="379604" y="454786"/>
                  </a:cubicBezTo>
                  <a:lnTo>
                    <a:pt x="379604" y="146665"/>
                  </a:lnTo>
                  <a:cubicBezTo>
                    <a:pt x="379604" y="79290"/>
                    <a:pt x="350025" y="45602"/>
                    <a:pt x="290866" y="45602"/>
                  </a:cubicBezTo>
                  <a:cubicBezTo>
                    <a:pt x="231706" y="45602"/>
                    <a:pt x="202127" y="79290"/>
                    <a:pt x="202127" y="146665"/>
                  </a:cubicBezTo>
                  <a:lnTo>
                    <a:pt x="202127" y="542292"/>
                  </a:lnTo>
                  <a:lnTo>
                    <a:pt x="0" y="542292"/>
                  </a:lnTo>
                  <a:lnTo>
                    <a:pt x="0" y="257589"/>
                  </a:lnTo>
                  <a:cubicBezTo>
                    <a:pt x="0" y="186105"/>
                    <a:pt x="27936" y="125302"/>
                    <a:pt x="83808" y="75181"/>
                  </a:cubicBezTo>
                  <a:cubicBezTo>
                    <a:pt x="139681" y="25060"/>
                    <a:pt x="208700" y="0"/>
                    <a:pt x="290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652145"/>
              <a:endParaRPr lang="zh-CN" altLang="en-US" sz="1285" kern="0">
                <a:solidFill>
                  <a:sysClr val="window" lastClr="FFFFFF"/>
                </a:solidFill>
                <a:latin typeface="Arial" panose="020B0604020202020204"/>
                <a:ea typeface="微软雅黑" panose="020B0503020204020204" pitchFamily="34" charset="-122"/>
                <a:cs typeface="+mn-ea"/>
                <a:sym typeface="+mn-lt"/>
              </a:endParaRPr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组合 21"/>
          <p:cNvGrpSpPr/>
          <p:nvPr/>
        </p:nvGrpSpPr>
        <p:grpSpPr>
          <a:xfrm>
            <a:off x="6629400" y="-5"/>
            <a:ext cx="5555455" cy="6858000"/>
            <a:chOff x="6629400" y="-5"/>
            <a:chExt cx="5555455" cy="6858000"/>
          </a:xfrm>
        </p:grpSpPr>
        <p:pic>
          <p:nvPicPr>
            <p:cNvPr id="21" name="图片 20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98"/>
            <a:stretch>
              <a:fillRect/>
            </a:stretch>
          </p:blipFill>
          <p:spPr>
            <a:xfrm>
              <a:off x="6629401" y="-5"/>
              <a:ext cx="5555454" cy="6858000"/>
            </a:xfrm>
            <a:prstGeom prst="rect">
              <a:avLst/>
            </a:prstGeom>
          </p:spPr>
        </p:pic>
        <p:sp>
          <p:nvSpPr>
            <p:cNvPr id="18" name="直角三角形 17"/>
            <p:cNvSpPr/>
            <p:nvPr/>
          </p:nvSpPr>
          <p:spPr>
            <a:xfrm flipV="1">
              <a:off x="6629400" y="-1"/>
              <a:ext cx="2909887" cy="6857994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 err="1"/>
              <a:t>Guolian</a:t>
            </a:r>
            <a:r>
              <a:rPr lang="en-US" altLang="zh-CN" dirty="0"/>
              <a:t> Aquatic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t>9</a:t>
            </a:fld>
            <a:endParaRPr lang="zh-CN" altLang="en-US"/>
          </a:p>
        </p:txBody>
      </p:sp>
      <p:graphicFrame>
        <p:nvGraphicFramePr>
          <p:cNvPr id="6" name="图表 5"/>
          <p:cNvGraphicFramePr/>
          <p:nvPr/>
        </p:nvGraphicFramePr>
        <p:xfrm>
          <a:off x="357150" y="1743073"/>
          <a:ext cx="6915188" cy="4311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矩形 7"/>
          <p:cNvSpPr/>
          <p:nvPr/>
        </p:nvSpPr>
        <p:spPr>
          <a:xfrm>
            <a:off x="357150" y="2057399"/>
            <a:ext cx="1875835" cy="32836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altLang="zh-CN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it: 100 million RMB</a:t>
            </a:r>
            <a:endParaRPr lang="zh-CN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文本占位符 7"/>
          <p:cNvSpPr txBox="1"/>
          <p:nvPr/>
        </p:nvSpPr>
        <p:spPr>
          <a:xfrm>
            <a:off x="357150" y="745850"/>
            <a:ext cx="7972463" cy="1228746"/>
          </a:xfrm>
          <a:prstGeom prst="rect">
            <a:avLst/>
          </a:prstGeom>
        </p:spPr>
        <p:txBody>
          <a:bodyPr/>
          <a:lstStyle>
            <a:lvl1pPr marL="457200" indent="-4572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4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600" indent="-3810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373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4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8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4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20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600" indent="-304800" algn="l" defTabSz="12192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000" b="1" dirty="0">
                <a:solidFill>
                  <a:srgbClr val="00336C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成立于</a:t>
            </a:r>
            <a:r>
              <a:rPr lang="en-US" altLang="zh-CN" sz="2000" b="1" dirty="0">
                <a:solidFill>
                  <a:srgbClr val="00336C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2001</a:t>
            </a:r>
            <a:r>
              <a:rPr lang="zh-CN" altLang="en-US" sz="2000" b="1" dirty="0">
                <a:solidFill>
                  <a:srgbClr val="00336C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年，</a:t>
            </a:r>
          </a:p>
          <a:p>
            <a:pPr marL="0" indent="0">
              <a:buNone/>
            </a:pPr>
            <a:r>
              <a:rPr lang="zh-CN" altLang="en-US" sz="2000" b="1" dirty="0">
                <a:solidFill>
                  <a:srgbClr val="00336C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经过</a:t>
            </a:r>
            <a:r>
              <a:rPr lang="en-US" altLang="zh-CN" sz="2000" b="1" dirty="0">
                <a:solidFill>
                  <a:srgbClr val="00336C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18</a:t>
            </a:r>
            <a:r>
              <a:rPr lang="zh-CN" altLang="en-US" sz="2000" b="1" dirty="0">
                <a:solidFill>
                  <a:srgbClr val="00336C"/>
                </a:solidFill>
                <a:latin typeface="Times New Roman" panose="02020603050405020304" pitchFamily="18" charset="0"/>
                <a:ea typeface="微软雅黑" panose="020B0503020204020204" pitchFamily="34" charset="-122"/>
                <a:cs typeface="Times New Roman" panose="02020603050405020304" pitchFamily="18" charset="0"/>
              </a:rPr>
              <a:t>年的发展，国联水产成为中国最大的水产供应商</a:t>
            </a:r>
            <a:endParaRPr lang="en-US" altLang="zh-CN" sz="2400" b="1" dirty="0">
              <a:solidFill>
                <a:srgbClr val="00336C"/>
              </a:solidFill>
              <a:latin typeface="Times New Roman" panose="02020603050405020304" pitchFamily="18" charset="0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5" name="直角三角形 14"/>
          <p:cNvSpPr/>
          <p:nvPr/>
        </p:nvSpPr>
        <p:spPr>
          <a:xfrm>
            <a:off x="0" y="5789358"/>
            <a:ext cx="669924" cy="1068641"/>
          </a:xfrm>
          <a:prstGeom prst="rt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8202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ISCONTENTSTITLE" val="0"/>
  <p:tag name="KSO_WM_UNIT_RELATE_UNITID" val="layout_q1"/>
  <p:tag name="KSO_WM_UNIT_HIGHLIGHT" val="0"/>
  <p:tag name="KSO_WM_UNIT_COMPATIBLE" val="0"/>
  <p:tag name="KSO_WM_UNIT_ID" val="diagram20187582_3*q_a*1_1"/>
  <p:tag name="KSO_WM_TEMPLATE_CATEGORY" val="diagram"/>
  <p:tag name="KSO_WM_TEMPLATE_INDEX" val="20187582"/>
  <p:tag name="KSO_WM_UNIT_LAYERLEVEL" val="1_1"/>
  <p:tag name="KSO_WM_TAG_VERSION" val="1.0"/>
  <p:tag name="KSO_WM_BEAUTIFY_FLAG" val="#wm#"/>
  <p:tag name="KSO_WM_UNIT_DIAGRAM_ISNUMVISUAL" val="0"/>
  <p:tag name="KSO_WM_UNIT_DIAGRAM_ISREFERUNIT" val="0"/>
  <p:tag name="KSO_WM_UNIT_NOCLEAR" val="0"/>
  <p:tag name="KSO_WM_UNIT_COLOR_SCHEME_SHAPE_ID" val="20"/>
  <p:tag name="KSO_WM_UNIT_COLOR_SCHEME_PARENT_PAGE" val="0_3"/>
  <p:tag name="KSO_WM_UNIT_PRESET_TEXT" val="添加标题"/>
  <p:tag name="KSO_WM_UNIT_VALUE" val="6"/>
  <p:tag name="KSO_WM_DIAGRAM_GROUP_CODE" val="q1-1"/>
  <p:tag name="KSO_WM_UNIT_TYPE" val="q_a"/>
  <p:tag name="KSO_WM_UNIT_INDEX" val="1_1"/>
  <p:tag name="KSO_WM_UNIT_TEXT_FILL_FORE_SCHEMECOLOR_INDEX" val="13"/>
  <p:tag name="KSO_WM_UNIT_TEXT_FILL_TYP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1z54iinkSwrKf2FPM1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w0YZbRg02asJgjwY.A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zezjfHpE2jmUBDEWrr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1z54iinkSwrKf2FPM1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w0YZbRg02asJgjwY.A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zezjfHpE2jmUBDEWrr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43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02958"/>
      </a:accent1>
      <a:accent2>
        <a:srgbClr val="1848C8"/>
      </a:accent2>
      <a:accent3>
        <a:srgbClr val="02B0ED"/>
      </a:accent3>
      <a:accent4>
        <a:srgbClr val="FA2A65"/>
      </a:accent4>
      <a:accent5>
        <a:srgbClr val="6C6C6C"/>
      </a:accent5>
      <a:accent6>
        <a:srgbClr val="A5A5A5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2958"/>
    </a:accent1>
    <a:accent2>
      <a:srgbClr val="1848C8"/>
    </a:accent2>
    <a:accent3>
      <a:srgbClr val="02B0ED"/>
    </a:accent3>
    <a:accent4>
      <a:srgbClr val="FA2A65"/>
    </a:accent4>
    <a:accent5>
      <a:srgbClr val="6C6C6C"/>
    </a:accent5>
    <a:accent6>
      <a:srgbClr val="A5A5A5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02958"/>
    </a:accent1>
    <a:accent2>
      <a:srgbClr val="1848C8"/>
    </a:accent2>
    <a:accent3>
      <a:srgbClr val="02B0ED"/>
    </a:accent3>
    <a:accent4>
      <a:srgbClr val="FA2A65"/>
    </a:accent4>
    <a:accent5>
      <a:srgbClr val="6C6C6C"/>
    </a:accent5>
    <a:accent6>
      <a:srgbClr val="A5A5A5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</TotalTime>
  <Words>1364</Words>
  <Application>Microsoft Office PowerPoint</Application>
  <PresentationFormat>自定义</PresentationFormat>
  <Paragraphs>253</Paragraphs>
  <Slides>27</Slides>
  <Notes>15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29" baseType="lpstr">
      <vt:lpstr>主题5</vt:lpstr>
      <vt:lpstr>think-cell Slide</vt:lpstr>
      <vt:lpstr> GUOLIAN GROUP SUPPLY CHAIN INNOVATION</vt:lpstr>
      <vt:lpstr>PowerPoint 演示文稿</vt:lpstr>
      <vt:lpstr>PowerPoint 演示文稿</vt:lpstr>
      <vt:lpstr>PowerPoint 演示文稿</vt:lpstr>
      <vt:lpstr>水产品消费趋势</vt:lpstr>
      <vt:lpstr>水产品消费总量</vt:lpstr>
      <vt:lpstr>水产品消费总量</vt:lpstr>
      <vt:lpstr>PowerPoint 演示文稿</vt:lpstr>
      <vt:lpstr>PowerPoint 演示文稿</vt:lpstr>
      <vt:lpstr>全产业链运作模式保证供应链的安全和稳定，可追溯性，可持续发展</vt:lpstr>
      <vt:lpstr>工厂化养殖模式，养殖标准化，保证安全和可持续</vt:lpstr>
      <vt:lpstr>全球供应链，保证安全和可持续供应</vt:lpstr>
      <vt:lpstr>PowerPoint 演示文稿</vt:lpstr>
      <vt:lpstr>智能化引领行业，建立“1+5+N”生产体系，标准化生产</vt:lpstr>
      <vt:lpstr>加工</vt:lpstr>
      <vt:lpstr>食品安全综合质量管理体系</vt:lpstr>
      <vt:lpstr>可追溯系统</vt:lpstr>
      <vt:lpstr>产品研发，预制菜品和调理食品，解放后厨，为客户创造价值</vt:lpstr>
      <vt:lpstr>最好的产品研发，为客户创造价值</vt:lpstr>
      <vt:lpstr>最好的产品研发，为客户创造价值</vt:lpstr>
      <vt:lpstr>最好的产品研发，为客户创造价值</vt:lpstr>
      <vt:lpstr>最好的产品研发，为客户创造价值</vt:lpstr>
      <vt:lpstr>最好的产品研发，为客户创造价值</vt:lpstr>
      <vt:lpstr>最好的产品研发，为客户创造价值</vt:lpstr>
      <vt:lpstr>多年来服务多家大客户</vt:lpstr>
      <vt:lpstr>PowerPoint 演示文稿</vt:lpstr>
      <vt:lpstr>THANKS Share and win-win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xuyiqi</cp:lastModifiedBy>
  <cp:revision>142</cp:revision>
  <cp:lastPrinted>2019-04-29T16:00:00Z</cp:lastPrinted>
  <dcterms:created xsi:type="dcterms:W3CDTF">2019-04-29T16:00:00Z</dcterms:created>
  <dcterms:modified xsi:type="dcterms:W3CDTF">2019-12-03T02:5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KSOProductBuildVer">
    <vt:lpwstr>2052-10.1.0.6206</vt:lpwstr>
  </property>
</Properties>
</file>